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20"/>
  </p:notesMasterIdLst>
  <p:sldIdLst>
    <p:sldId id="616" r:id="rId3"/>
    <p:sldId id="858" r:id="rId4"/>
    <p:sldId id="881" r:id="rId5"/>
    <p:sldId id="894" r:id="rId6"/>
    <p:sldId id="875" r:id="rId7"/>
    <p:sldId id="876" r:id="rId8"/>
    <p:sldId id="877" r:id="rId9"/>
    <p:sldId id="878" r:id="rId10"/>
    <p:sldId id="879" r:id="rId11"/>
    <p:sldId id="880" r:id="rId12"/>
    <p:sldId id="862" r:id="rId13"/>
    <p:sldId id="886" r:id="rId14"/>
    <p:sldId id="864" r:id="rId15"/>
    <p:sldId id="895" r:id="rId16"/>
    <p:sldId id="887" r:id="rId17"/>
    <p:sldId id="867" r:id="rId18"/>
    <p:sldId id="883" r:id="rId1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rlo" id="{F0666B9C-EA15-437F-A3C0-7A981BD63037}">
          <p14:sldIdLst>
            <p14:sldId id="616"/>
            <p14:sldId id="858"/>
          </p14:sldIdLst>
        </p14:section>
        <p14:section name="Hypothesen" id="{47B74E38-D723-416A-B1B0-37B6A9C5CD28}">
          <p14:sldIdLst>
            <p14:sldId id="881"/>
            <p14:sldId id="894"/>
            <p14:sldId id="875"/>
            <p14:sldId id="876"/>
            <p14:sldId id="877"/>
            <p14:sldId id="878"/>
            <p14:sldId id="879"/>
            <p14:sldId id="880"/>
          </p14:sldIdLst>
        </p14:section>
        <p14:section name="Multimedia" id="{EE70DAE8-7449-4D84-80C2-B3D68CAFE7A6}">
          <p14:sldIdLst>
            <p14:sldId id="862"/>
          </p14:sldIdLst>
        </p14:section>
        <p14:section name="Reflexion der Zielsetzung" id="{63079DD8-737B-4A28-B7C6-5127CF43DA6E}">
          <p14:sldIdLst>
            <p14:sldId id="886"/>
            <p14:sldId id="864"/>
          </p14:sldIdLst>
        </p14:section>
        <p14:section name="Zeit und Meilensteine" id="{A363C233-CA65-4F17-BDB9-E3F9091EFE16}">
          <p14:sldIdLst>
            <p14:sldId id="895"/>
          </p14:sldIdLst>
        </p14:section>
        <p14:section name="Team" id="{67D00864-8D52-48DC-B6F4-581090A6E1EE}">
          <p14:sldIdLst>
            <p14:sldId id="887"/>
          </p14:sldIdLst>
        </p14:section>
        <p14:section name="Lessons Learned" id="{ECA672F5-36D0-40C6-9354-7D245518003A}">
          <p14:sldIdLst>
            <p14:sldId id="867"/>
          </p14:sldIdLst>
        </p14:section>
        <p14:section name="Closing Slide" id="{9BC4E558-B9F0-42D5-AFC3-77EECB483BA2}">
          <p14:sldIdLst>
            <p14:sldId id="8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50" userDrawn="1">
          <p15:clr>
            <a:srgbClr val="A4A3A4"/>
          </p15:clr>
        </p15:guide>
        <p15:guide id="4" pos="597" userDrawn="1">
          <p15:clr>
            <a:srgbClr val="A4A3A4"/>
          </p15:clr>
        </p15:guide>
        <p15:guide id="5" pos="5609" userDrawn="1">
          <p15:clr>
            <a:srgbClr val="A4A3A4"/>
          </p15:clr>
        </p15:guide>
        <p15:guide id="6" pos="7083" userDrawn="1">
          <p15:clr>
            <a:srgbClr val="A4A3A4"/>
          </p15:clr>
        </p15:guide>
        <p15:guide id="7" orient="horz" pos="1661" userDrawn="1">
          <p15:clr>
            <a:srgbClr val="A4A3A4"/>
          </p15:clr>
        </p15:guide>
        <p15:guide id="8" orient="horz" pos="913" userDrawn="1">
          <p15:clr>
            <a:srgbClr val="A4A3A4"/>
          </p15:clr>
        </p15:guide>
        <p15:guide id="9" orient="horz" pos="3838" userDrawn="1">
          <p15:clr>
            <a:srgbClr val="A4A3A4"/>
          </p15:clr>
        </p15:guide>
        <p15:guide id="10" pos="3409" userDrawn="1">
          <p15:clr>
            <a:srgbClr val="A4A3A4"/>
          </p15:clr>
        </p15:guide>
        <p15:guide id="11" orient="horz" pos="1071" userDrawn="1">
          <p15:clr>
            <a:srgbClr val="A4A3A4"/>
          </p15:clr>
        </p15:guide>
        <p15:guide id="12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3A3A"/>
    <a:srgbClr val="00257C"/>
    <a:srgbClr val="FFC620"/>
    <a:srgbClr val="C8C8C8"/>
    <a:srgbClr val="E6E6E6"/>
    <a:srgbClr val="BFBFBF"/>
    <a:srgbClr val="D9D9D9"/>
    <a:srgbClr val="595959"/>
    <a:srgbClr val="7F7F7F"/>
    <a:srgbClr val="FFDC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CB94AE-F125-4388-AAC2-90396541D5B7}" v="2610" dt="2025-07-09T16:30:25.754"/>
    <p1510:client id="{A8B6BF52-C66A-4405-BEE3-6EBFA5D960B0}" v="99" dt="2025-07-10T07:28:48.10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48" autoAdjust="0"/>
    <p:restoredTop sz="78079" autoAdjust="0"/>
  </p:normalViewPr>
  <p:slideViewPr>
    <p:cSldViewPr snapToGrid="0" showGuides="1">
      <p:cViewPr>
        <p:scale>
          <a:sx n="88" d="100"/>
          <a:sy n="88" d="100"/>
        </p:scale>
        <p:origin x="48" y="53"/>
      </p:cViewPr>
      <p:guideLst>
        <p:guide orient="horz" pos="4133"/>
        <p:guide pos="3840"/>
        <p:guide orient="horz" pos="550"/>
        <p:guide pos="597"/>
        <p:guide pos="5609"/>
        <p:guide pos="7083"/>
        <p:guide orient="horz" pos="1661"/>
        <p:guide orient="horz" pos="913"/>
        <p:guide orient="horz" pos="3838"/>
        <p:guide pos="3409"/>
        <p:guide orient="horz" pos="1071"/>
        <p:guide orient="horz" pos="254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del, Yanick Noah" userId="c0f86fc0-9b55-4d74-958a-ff514487524f" providerId="ADAL" clId="{4491A316-F633-41B6-8B89-4C8AC32E41EE}"/>
    <pc:docChg chg="undo redo custSel addSld delSld modSld sldOrd delMainMaster modMainMaster modSection">
      <pc:chgData name="Bedel, Yanick Noah" userId="c0f86fc0-9b55-4d74-958a-ff514487524f" providerId="ADAL" clId="{4491A316-F633-41B6-8B89-4C8AC32E41EE}" dt="2025-05-23T11:26:25.605" v="7626" actId="47"/>
      <pc:docMkLst>
        <pc:docMk/>
      </pc:docMkLst>
      <pc:sldChg chg="addSp modSp del mod">
        <pc:chgData name="Bedel, Yanick Noah" userId="c0f86fc0-9b55-4d74-958a-ff514487524f" providerId="ADAL" clId="{4491A316-F633-41B6-8B89-4C8AC32E41EE}" dt="2025-05-22T12:41:23.278" v="570" actId="47"/>
        <pc:sldMkLst>
          <pc:docMk/>
          <pc:sldMk cId="136942649" sldId="256"/>
        </pc:sldMkLst>
      </pc:sldChg>
      <pc:sldChg chg="del mod modShow">
        <pc:chgData name="Bedel, Yanick Noah" userId="c0f86fc0-9b55-4d74-958a-ff514487524f" providerId="ADAL" clId="{4491A316-F633-41B6-8B89-4C8AC32E41EE}" dt="2025-05-22T14:29:52.958" v="2158" actId="2696"/>
        <pc:sldMkLst>
          <pc:docMk/>
          <pc:sldMk cId="1051711119" sldId="257"/>
        </pc:sldMkLst>
      </pc:sldChg>
      <pc:sldChg chg="del mod modShow">
        <pc:chgData name="Bedel, Yanick Noah" userId="c0f86fc0-9b55-4d74-958a-ff514487524f" providerId="ADAL" clId="{4491A316-F633-41B6-8B89-4C8AC32E41EE}" dt="2025-05-23T06:07:27.980" v="6535" actId="47"/>
        <pc:sldMkLst>
          <pc:docMk/>
          <pc:sldMk cId="1455317699" sldId="258"/>
        </pc:sldMkLst>
      </pc:sldChg>
      <pc:sldChg chg="del mod modShow">
        <pc:chgData name="Bedel, Yanick Noah" userId="c0f86fc0-9b55-4d74-958a-ff514487524f" providerId="ADAL" clId="{4491A316-F633-41B6-8B89-4C8AC32E41EE}" dt="2025-05-23T06:07:27.126" v="6534" actId="47"/>
        <pc:sldMkLst>
          <pc:docMk/>
          <pc:sldMk cId="3061298828" sldId="259"/>
        </pc:sldMkLst>
      </pc:sldChg>
      <pc:sldChg chg="del mod modShow">
        <pc:chgData name="Bedel, Yanick Noah" userId="c0f86fc0-9b55-4d74-958a-ff514487524f" providerId="ADAL" clId="{4491A316-F633-41B6-8B89-4C8AC32E41EE}" dt="2025-05-23T06:07:25.903" v="6533" actId="47"/>
        <pc:sldMkLst>
          <pc:docMk/>
          <pc:sldMk cId="2094351475" sldId="260"/>
        </pc:sldMkLst>
      </pc:sldChg>
      <pc:sldChg chg="del mod modShow">
        <pc:chgData name="Bedel, Yanick Noah" userId="c0f86fc0-9b55-4d74-958a-ff514487524f" providerId="ADAL" clId="{4491A316-F633-41B6-8B89-4C8AC32E41EE}" dt="2025-05-23T06:07:33.675" v="6537" actId="47"/>
        <pc:sldMkLst>
          <pc:docMk/>
          <pc:sldMk cId="683363704" sldId="262"/>
        </pc:sldMkLst>
      </pc:sldChg>
      <pc:sldChg chg="del mod modShow">
        <pc:chgData name="Bedel, Yanick Noah" userId="c0f86fc0-9b55-4d74-958a-ff514487524f" providerId="ADAL" clId="{4491A316-F633-41B6-8B89-4C8AC32E41EE}" dt="2025-05-23T06:07:29.878" v="6536" actId="47"/>
        <pc:sldMkLst>
          <pc:docMk/>
          <pc:sldMk cId="2560366197" sldId="263"/>
        </pc:sldMkLst>
      </pc:sldChg>
      <pc:sldChg chg="addSp delSp modSp add del mod">
        <pc:chgData name="Bedel, Yanick Noah" userId="c0f86fc0-9b55-4d74-958a-ff514487524f" providerId="ADAL" clId="{4491A316-F633-41B6-8B89-4C8AC32E41EE}" dt="2025-05-22T11:49:33.091" v="242" actId="47"/>
        <pc:sldMkLst>
          <pc:docMk/>
          <pc:sldMk cId="2842045975" sldId="578"/>
        </pc:sldMkLst>
      </pc:sldChg>
      <pc:sldChg chg="addSp delSp modSp add del mod">
        <pc:chgData name="Bedel, Yanick Noah" userId="c0f86fc0-9b55-4d74-958a-ff514487524f" providerId="ADAL" clId="{4491A316-F633-41B6-8B89-4C8AC32E41EE}" dt="2025-05-22T12:11:16.970" v="444" actId="47"/>
        <pc:sldMkLst>
          <pc:docMk/>
          <pc:sldMk cId="1395253054" sldId="579"/>
        </pc:sldMkLst>
      </pc:sldChg>
      <pc:sldChg chg="add del">
        <pc:chgData name="Bedel, Yanick Noah" userId="c0f86fc0-9b55-4d74-958a-ff514487524f" providerId="ADAL" clId="{4491A316-F633-41B6-8B89-4C8AC32E41EE}" dt="2025-05-22T15:45:08.292" v="3183" actId="47"/>
        <pc:sldMkLst>
          <pc:docMk/>
          <pc:sldMk cId="132722374" sldId="594"/>
        </pc:sldMkLst>
      </pc:sldChg>
      <pc:sldChg chg="add del ord">
        <pc:chgData name="Bedel, Yanick Noah" userId="c0f86fc0-9b55-4d74-958a-ff514487524f" providerId="ADAL" clId="{4491A316-F633-41B6-8B89-4C8AC32E41EE}" dt="2025-05-22T15:44:23.543" v="3181" actId="47"/>
        <pc:sldMkLst>
          <pc:docMk/>
          <pc:sldMk cId="550918929" sldId="608"/>
        </pc:sldMkLst>
      </pc:sldChg>
      <pc:sldChg chg="modSp add del mod setBg">
        <pc:chgData name="Bedel, Yanick Noah" userId="c0f86fc0-9b55-4d74-958a-ff514487524f" providerId="ADAL" clId="{4491A316-F633-41B6-8B89-4C8AC32E41EE}" dt="2025-05-22T12:46:43.198" v="651" actId="47"/>
        <pc:sldMkLst>
          <pc:docMk/>
          <pc:sldMk cId="1800736723" sldId="615"/>
        </pc:sldMkLst>
      </pc:sldChg>
      <pc:sldChg chg="add del setBg">
        <pc:chgData name="Bedel, Yanick Noah" userId="c0f86fc0-9b55-4d74-958a-ff514487524f" providerId="ADAL" clId="{4491A316-F633-41B6-8B89-4C8AC32E41EE}" dt="2025-05-22T12:11:18.150" v="445" actId="47"/>
        <pc:sldMkLst>
          <pc:docMk/>
          <pc:sldMk cId="189871333" sldId="616"/>
        </pc:sldMkLst>
      </pc:sldChg>
      <pc:sldChg chg="addSp delSp modSp add mod">
        <pc:chgData name="Bedel, Yanick Noah" userId="c0f86fc0-9b55-4d74-958a-ff514487524f" providerId="ADAL" clId="{4491A316-F633-41B6-8B89-4C8AC32E41EE}" dt="2025-05-23T11:26:10.121" v="7624" actId="20577"/>
        <pc:sldMkLst>
          <pc:docMk/>
          <pc:sldMk cId="224690573" sldId="616"/>
        </pc:sldMkLst>
        <pc:spChg chg="mod">
          <ac:chgData name="Bedel, Yanick Noah" userId="c0f86fc0-9b55-4d74-958a-ff514487524f" providerId="ADAL" clId="{4491A316-F633-41B6-8B89-4C8AC32E41EE}" dt="2025-05-22T14:11:35.763" v="1329" actId="692"/>
          <ac:spMkLst>
            <pc:docMk/>
            <pc:sldMk cId="224690573" sldId="616"/>
            <ac:spMk id="2" creationId="{7F8A8E15-9416-548A-D977-90A0320061F4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6" creationId="{C05AE120-CB94-354F-9577-14826162E889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7" creationId="{E46123CC-4546-3050-2C02-BA04B23B891C}"/>
          </ac:spMkLst>
        </pc:spChg>
        <pc:spChg chg="mod">
          <ac:chgData name="Bedel, Yanick Noah" userId="c0f86fc0-9b55-4d74-958a-ff514487524f" providerId="ADAL" clId="{4491A316-F633-41B6-8B89-4C8AC32E41EE}" dt="2025-05-22T12:40:58.911" v="569" actId="207"/>
          <ac:spMkLst>
            <pc:docMk/>
            <pc:sldMk cId="224690573" sldId="616"/>
            <ac:spMk id="9" creationId="{B0D484EA-2C4F-A1A2-D08B-8B2D15D28362}"/>
          </ac:spMkLst>
        </pc:spChg>
        <pc:spChg chg="mod">
          <ac:chgData name="Bedel, Yanick Noah" userId="c0f86fc0-9b55-4d74-958a-ff514487524f" providerId="ADAL" clId="{4491A316-F633-41B6-8B89-4C8AC32E41EE}" dt="2025-05-23T11:26:10.121" v="7624" actId="20577"/>
          <ac:spMkLst>
            <pc:docMk/>
            <pc:sldMk cId="224690573" sldId="616"/>
            <ac:spMk id="10" creationId="{A15CAEDB-780C-484C-8F6B-3550289EAD0E}"/>
          </ac:spMkLst>
        </pc:spChg>
      </pc:sldChg>
      <pc:sldChg chg="addSp delSp modSp new del mod modAnim">
        <pc:chgData name="Bedel, Yanick Noah" userId="c0f86fc0-9b55-4d74-958a-ff514487524f" providerId="ADAL" clId="{4491A316-F633-41B6-8B89-4C8AC32E41EE}" dt="2025-05-22T13:54:47.438" v="1006" actId="47"/>
        <pc:sldMkLst>
          <pc:docMk/>
          <pc:sldMk cId="1215923087" sldId="617"/>
        </pc:sldMkLst>
      </pc:sldChg>
      <pc:sldChg chg="addSp delSp modSp new del mod delAnim modAnim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794408749" sldId="618"/>
        </pc:sldMkLst>
      </pc:sldChg>
      <pc:sldChg chg="new del">
        <pc:chgData name="Bedel, Yanick Noah" userId="c0f86fc0-9b55-4d74-958a-ff514487524f" providerId="ADAL" clId="{4491A316-F633-41B6-8B89-4C8AC32E41EE}" dt="2025-05-22T14:31:07.347" v="2178" actId="47"/>
        <pc:sldMkLst>
          <pc:docMk/>
          <pc:sldMk cId="118351017" sldId="619"/>
        </pc:sldMkLst>
      </pc:sldChg>
      <pc:sldChg chg="new del">
        <pc:chgData name="Bedel, Yanick Noah" userId="c0f86fc0-9b55-4d74-958a-ff514487524f" providerId="ADAL" clId="{4491A316-F633-41B6-8B89-4C8AC32E41EE}" dt="2025-05-22T14:31:14.576" v="2180" actId="47"/>
        <pc:sldMkLst>
          <pc:docMk/>
          <pc:sldMk cId="1175174472" sldId="620"/>
        </pc:sldMkLst>
      </pc:sldChg>
      <pc:sldChg chg="new del">
        <pc:chgData name="Bedel, Yanick Noah" userId="c0f86fc0-9b55-4d74-958a-ff514487524f" providerId="ADAL" clId="{4491A316-F633-41B6-8B89-4C8AC32E41EE}" dt="2025-05-22T14:31:18.221" v="2182" actId="47"/>
        <pc:sldMkLst>
          <pc:docMk/>
          <pc:sldMk cId="1117231229" sldId="621"/>
        </pc:sldMkLst>
      </pc:sldChg>
      <pc:sldChg chg="new del">
        <pc:chgData name="Bedel, Yanick Noah" userId="c0f86fc0-9b55-4d74-958a-ff514487524f" providerId="ADAL" clId="{4491A316-F633-41B6-8B89-4C8AC32E41EE}" dt="2025-05-22T14:31:21.684" v="2184" actId="47"/>
        <pc:sldMkLst>
          <pc:docMk/>
          <pc:sldMk cId="1205088983" sldId="622"/>
        </pc:sldMkLst>
      </pc:sldChg>
      <pc:sldChg chg="add del">
        <pc:chgData name="Bedel, Yanick Noah" userId="c0f86fc0-9b55-4d74-958a-ff514487524f" providerId="ADAL" clId="{4491A316-F633-41B6-8B89-4C8AC32E41EE}" dt="2025-05-22T15:20:14.458" v="2798" actId="47"/>
        <pc:sldMkLst>
          <pc:docMk/>
          <pc:sldMk cId="3819565133" sldId="633"/>
        </pc:sldMkLst>
      </pc:sldChg>
      <pc:sldChg chg="add del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11986854" sldId="645"/>
        </pc:sldMkLst>
      </pc:sldChg>
      <pc:sldChg chg="add del ord">
        <pc:chgData name="Bedel, Yanick Noah" userId="c0f86fc0-9b55-4d74-958a-ff514487524f" providerId="ADAL" clId="{4491A316-F633-41B6-8B89-4C8AC32E41EE}" dt="2025-05-22T15:41:59.278" v="3130" actId="47"/>
        <pc:sldMkLst>
          <pc:docMk/>
          <pc:sldMk cId="3245281281" sldId="651"/>
        </pc:sldMkLst>
      </pc:sldChg>
      <pc:sldChg chg="add del">
        <pc:chgData name="Bedel, Yanick Noah" userId="c0f86fc0-9b55-4d74-958a-ff514487524f" providerId="ADAL" clId="{4491A316-F633-41B6-8B89-4C8AC32E41EE}" dt="2025-05-23T07:47:52.858" v="7278" actId="47"/>
        <pc:sldMkLst>
          <pc:docMk/>
          <pc:sldMk cId="953197028" sldId="659"/>
        </pc:sldMkLst>
      </pc:sldChg>
      <pc:sldChg chg="add del">
        <pc:chgData name="Bedel, Yanick Noah" userId="c0f86fc0-9b55-4d74-958a-ff514487524f" providerId="ADAL" clId="{4491A316-F633-41B6-8B89-4C8AC32E41EE}" dt="2025-05-23T07:43:12.118" v="7110" actId="47"/>
        <pc:sldMkLst>
          <pc:docMk/>
          <pc:sldMk cId="560395621" sldId="667"/>
        </pc:sldMkLst>
      </pc:sldChg>
      <pc:sldChg chg="delSp modSp add del mod">
        <pc:chgData name="Bedel, Yanick Noah" userId="c0f86fc0-9b55-4d74-958a-ff514487524f" providerId="ADAL" clId="{4491A316-F633-41B6-8B89-4C8AC32E41EE}" dt="2025-05-23T07:47:55.221" v="7280" actId="47"/>
        <pc:sldMkLst>
          <pc:docMk/>
          <pc:sldMk cId="3193602766" sldId="679"/>
        </pc:sldMkLst>
      </pc:sldChg>
      <pc:sldChg chg="add del">
        <pc:chgData name="Bedel, Yanick Noah" userId="c0f86fc0-9b55-4d74-958a-ff514487524f" providerId="ADAL" clId="{4491A316-F633-41B6-8B89-4C8AC32E41EE}" dt="2025-05-22T15:44:37.560" v="3182" actId="47"/>
        <pc:sldMkLst>
          <pc:docMk/>
          <pc:sldMk cId="3574665502" sldId="789"/>
        </pc:sldMkLst>
      </pc:sldChg>
      <pc:sldChg chg="delSp modSp add del mod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414302849" sldId="806"/>
        </pc:sldMkLst>
      </pc:sldChg>
      <pc:sldChg chg="delSp add del">
        <pc:chgData name="Bedel, Yanick Noah" userId="c0f86fc0-9b55-4d74-958a-ff514487524f" providerId="ADAL" clId="{4491A316-F633-41B6-8B89-4C8AC32E41EE}" dt="2025-05-22T15:46:35.714" v="3231" actId="47"/>
        <pc:sldMkLst>
          <pc:docMk/>
          <pc:sldMk cId="123076614" sldId="808"/>
        </pc:sldMkLst>
      </pc:sldChg>
      <pc:sldChg chg="modSp add del mod">
        <pc:chgData name="Bedel, Yanick Noah" userId="c0f86fc0-9b55-4d74-958a-ff514487524f" providerId="ADAL" clId="{4491A316-F633-41B6-8B89-4C8AC32E41EE}" dt="2025-05-22T14:13:23.140" v="1330" actId="47"/>
        <pc:sldMkLst>
          <pc:docMk/>
          <pc:sldMk cId="66123266" sldId="831"/>
        </pc:sldMkLst>
      </pc:sldChg>
      <pc:sldChg chg="add del ord">
        <pc:chgData name="Bedel, Yanick Noah" userId="c0f86fc0-9b55-4d74-958a-ff514487524f" providerId="ADAL" clId="{4491A316-F633-41B6-8B89-4C8AC32E41EE}" dt="2025-05-22T14:13:24.920" v="1331" actId="47"/>
        <pc:sldMkLst>
          <pc:docMk/>
          <pc:sldMk cId="3763838562" sldId="834"/>
        </pc:sldMkLst>
      </pc:sldChg>
      <pc:sldChg chg="addSp delSp modSp add mod modTransition delAnim modAnim">
        <pc:chgData name="Bedel, Yanick Noah" userId="c0f86fc0-9b55-4d74-958a-ff514487524f" providerId="ADAL" clId="{4491A316-F633-41B6-8B89-4C8AC32E41EE}" dt="2025-05-23T10:06:34.384" v="7539"/>
        <pc:sldMkLst>
          <pc:docMk/>
          <pc:sldMk cId="2704049841" sldId="835"/>
        </pc:sldMkLst>
      </pc:sldChg>
      <pc:sldChg chg="addSp delSp modSp add del mod delAnim modAnim">
        <pc:chgData name="Bedel, Yanick Noah" userId="c0f86fc0-9b55-4d74-958a-ff514487524f" providerId="ADAL" clId="{4491A316-F633-41B6-8B89-4C8AC32E41EE}" dt="2025-05-23T05:50:27.282" v="5765" actId="47"/>
        <pc:sldMkLst>
          <pc:docMk/>
          <pc:sldMk cId="69426893" sldId="836"/>
        </pc:sldMkLst>
      </pc:sldChg>
      <pc:sldChg chg="addSp modSp add del mod">
        <pc:chgData name="Bedel, Yanick Noah" userId="c0f86fc0-9b55-4d74-958a-ff514487524f" providerId="ADAL" clId="{4491A316-F633-41B6-8B89-4C8AC32E41EE}" dt="2025-05-23T06:55:12.696" v="6838" actId="47"/>
        <pc:sldMkLst>
          <pc:docMk/>
          <pc:sldMk cId="4223179927" sldId="836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3231869335" sldId="839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1460428770" sldId="840"/>
        </pc:sldMkLst>
      </pc:sldChg>
      <pc:sldChg chg="add del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987191504" sldId="841"/>
        </pc:sldMkLst>
      </pc:sldChg>
      <pc:sldChg chg="addSp delSp modSp add mod ord delAnim modAnim">
        <pc:chgData name="Bedel, Yanick Noah" userId="c0f86fc0-9b55-4d74-958a-ff514487524f" providerId="ADAL" clId="{4491A316-F633-41B6-8B89-4C8AC32E41EE}" dt="2025-05-23T10:05:57.224" v="7537"/>
        <pc:sldMkLst>
          <pc:docMk/>
          <pc:sldMk cId="2692542087" sldId="842"/>
        </pc:sldMkLst>
      </pc:sldChg>
      <pc:sldChg chg="addSp delSp modSp add del mod delAnim modAnim">
        <pc:chgData name="Bedel, Yanick Noah" userId="c0f86fc0-9b55-4d74-958a-ff514487524f" providerId="ADAL" clId="{4491A316-F633-41B6-8B89-4C8AC32E41EE}" dt="2025-05-23T06:52:39.434" v="6814" actId="47"/>
        <pc:sldMkLst>
          <pc:docMk/>
          <pc:sldMk cId="4222758876" sldId="843"/>
        </pc:sldMkLst>
      </pc:sldChg>
      <pc:sldChg chg="addSp delSp modSp add del mod ord">
        <pc:chgData name="Bedel, Yanick Noah" userId="c0f86fc0-9b55-4d74-958a-ff514487524f" providerId="ADAL" clId="{4491A316-F633-41B6-8B89-4C8AC32E41EE}" dt="2025-05-23T07:10:23.366" v="6903" actId="47"/>
        <pc:sldMkLst>
          <pc:docMk/>
          <pc:sldMk cId="1646100221" sldId="844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8.557" v="7106" actId="478"/>
        <pc:sldMkLst>
          <pc:docMk/>
          <pc:sldMk cId="1104288681" sldId="845"/>
        </pc:sldMkLst>
      </pc:sldChg>
      <pc:sldChg chg="addSp delSp modSp add mod modAnim">
        <pc:chgData name="Bedel, Yanick Noah" userId="c0f86fc0-9b55-4d74-958a-ff514487524f" providerId="ADAL" clId="{4491A316-F633-41B6-8B89-4C8AC32E41EE}" dt="2025-05-23T09:56:38.927" v="7505" actId="20577"/>
        <pc:sldMkLst>
          <pc:docMk/>
          <pc:sldMk cId="933151716" sldId="846"/>
        </pc:sldMkLst>
      </pc:sldChg>
      <pc:sldChg chg="addSp delSp modSp add mod modAnim">
        <pc:chgData name="Bedel, Yanick Noah" userId="c0f86fc0-9b55-4d74-958a-ff514487524f" providerId="ADAL" clId="{4491A316-F633-41B6-8B89-4C8AC32E41EE}" dt="2025-05-23T08:07:50.561" v="7484"/>
        <pc:sldMkLst>
          <pc:docMk/>
          <pc:sldMk cId="3468982406" sldId="847"/>
        </pc:sldMkLst>
      </pc:sldChg>
      <pc:sldChg chg="addSp modSp add del mod">
        <pc:chgData name="Bedel, Yanick Noah" userId="c0f86fc0-9b55-4d74-958a-ff514487524f" providerId="ADAL" clId="{4491A316-F633-41B6-8B89-4C8AC32E41EE}" dt="2025-05-22T15:56:27.261" v="3351" actId="47"/>
        <pc:sldMkLst>
          <pc:docMk/>
          <pc:sldMk cId="3913224122" sldId="848"/>
        </pc:sldMkLst>
      </pc:sldChg>
      <pc:sldChg chg="add del ord">
        <pc:chgData name="Bedel, Yanick Noah" userId="c0f86fc0-9b55-4d74-958a-ff514487524f" providerId="ADAL" clId="{4491A316-F633-41B6-8B89-4C8AC32E41EE}" dt="2025-05-22T15:43:32.394" v="3135" actId="47"/>
        <pc:sldMkLst>
          <pc:docMk/>
          <pc:sldMk cId="3984876580" sldId="849"/>
        </pc:sldMkLst>
      </pc:sldChg>
      <pc:sldChg chg="addSp delSp modSp add del mod modAnim">
        <pc:chgData name="Bedel, Yanick Noah" userId="c0f86fc0-9b55-4d74-958a-ff514487524f" providerId="ADAL" clId="{4491A316-F633-41B6-8B89-4C8AC32E41EE}" dt="2025-05-23T08:14:14.436" v="7503" actId="20577"/>
        <pc:sldMkLst>
          <pc:docMk/>
          <pc:sldMk cId="4270613589" sldId="849"/>
        </pc:sldMkLst>
      </pc:sldChg>
      <pc:sldChg chg="modSp add del mod">
        <pc:chgData name="Bedel, Yanick Noah" userId="c0f86fc0-9b55-4d74-958a-ff514487524f" providerId="ADAL" clId="{4491A316-F633-41B6-8B89-4C8AC32E41EE}" dt="2025-05-23T05:48:10.342" v="5730" actId="47"/>
        <pc:sldMkLst>
          <pc:docMk/>
          <pc:sldMk cId="364548840" sldId="850"/>
        </pc:sldMkLst>
      </pc:sldChg>
      <pc:sldChg chg="modSp add del mod">
        <pc:chgData name="Bedel, Yanick Noah" userId="c0f86fc0-9b55-4d74-958a-ff514487524f" providerId="ADAL" clId="{4491A316-F633-41B6-8B89-4C8AC32E41EE}" dt="2025-05-23T05:51:02.674" v="5769" actId="47"/>
        <pc:sldMkLst>
          <pc:docMk/>
          <pc:sldMk cId="431346072" sldId="850"/>
        </pc:sldMkLst>
      </pc:sldChg>
      <pc:sldChg chg="add del">
        <pc:chgData name="Bedel, Yanick Noah" userId="c0f86fc0-9b55-4d74-958a-ff514487524f" providerId="ADAL" clId="{4491A316-F633-41B6-8B89-4C8AC32E41EE}" dt="2025-05-22T15:38:56.748" v="3063" actId="47"/>
        <pc:sldMkLst>
          <pc:docMk/>
          <pc:sldMk cId="1531594370" sldId="850"/>
        </pc:sldMkLst>
      </pc:sldChg>
      <pc:sldChg chg="modSp add del mod">
        <pc:chgData name="Bedel, Yanick Noah" userId="c0f86fc0-9b55-4d74-958a-ff514487524f" providerId="ADAL" clId="{4491A316-F633-41B6-8B89-4C8AC32E41EE}" dt="2025-05-23T05:20:15.931" v="4812" actId="47"/>
        <pc:sldMkLst>
          <pc:docMk/>
          <pc:sldMk cId="2573537509" sldId="850"/>
        </pc:sldMkLst>
      </pc:sldChg>
      <pc:sldChg chg="addSp delSp modSp add mod addAnim delAnim modAnim">
        <pc:chgData name="Bedel, Yanick Noah" userId="c0f86fc0-9b55-4d74-958a-ff514487524f" providerId="ADAL" clId="{4491A316-F633-41B6-8B89-4C8AC32E41EE}" dt="2025-05-23T10:05:22.006" v="7536" actId="207"/>
        <pc:sldMkLst>
          <pc:docMk/>
          <pc:sldMk cId="3433168944" sldId="850"/>
        </pc:sldMkLst>
      </pc:sldChg>
      <pc:sldChg chg="addSp modSp add del mod modAnim">
        <pc:chgData name="Bedel, Yanick Noah" userId="c0f86fc0-9b55-4d74-958a-ff514487524f" providerId="ADAL" clId="{4491A316-F633-41B6-8B89-4C8AC32E41EE}" dt="2025-05-23T06:23:26.331" v="6705" actId="47"/>
        <pc:sldMkLst>
          <pc:docMk/>
          <pc:sldMk cId="3507375695" sldId="850"/>
        </pc:sldMkLst>
      </pc:sldChg>
      <pc:sldChg chg="delSp modSp add mod modAnim">
        <pc:chgData name="Bedel, Yanick Noah" userId="c0f86fc0-9b55-4d74-958a-ff514487524f" providerId="ADAL" clId="{4491A316-F633-41B6-8B89-4C8AC32E41EE}" dt="2025-05-23T07:00:45.383" v="6853"/>
        <pc:sldMkLst>
          <pc:docMk/>
          <pc:sldMk cId="590187059" sldId="851"/>
        </pc:sldMkLst>
      </pc:sldChg>
      <pc:sldChg chg="modSp add del mod">
        <pc:chgData name="Bedel, Yanick Noah" userId="c0f86fc0-9b55-4d74-958a-ff514487524f" providerId="ADAL" clId="{4491A316-F633-41B6-8B89-4C8AC32E41EE}" dt="2025-05-23T05:50:30.730" v="5766" actId="47"/>
        <pc:sldMkLst>
          <pc:docMk/>
          <pc:sldMk cId="1223149701" sldId="851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1.670" v="7104" actId="478"/>
        <pc:sldMkLst>
          <pc:docMk/>
          <pc:sldMk cId="1242751092" sldId="852"/>
        </pc:sldMkLst>
      </pc:sldChg>
      <pc:sldChg chg="addSp modSp add del mod">
        <pc:chgData name="Bedel, Yanick Noah" userId="c0f86fc0-9b55-4d74-958a-ff514487524f" providerId="ADAL" clId="{4491A316-F633-41B6-8B89-4C8AC32E41EE}" dt="2025-05-23T07:47:53.693" v="7279" actId="47"/>
        <pc:sldMkLst>
          <pc:docMk/>
          <pc:sldMk cId="1099510796" sldId="853"/>
        </pc:sldMkLst>
      </pc:sldChg>
      <pc:sldChg chg="add del">
        <pc:chgData name="Bedel, Yanick Noah" userId="c0f86fc0-9b55-4d74-958a-ff514487524f" providerId="ADAL" clId="{4491A316-F633-41B6-8B89-4C8AC32E41EE}" dt="2025-05-23T11:24:59.646" v="7592" actId="47"/>
        <pc:sldMkLst>
          <pc:docMk/>
          <pc:sldMk cId="1241591625" sldId="853"/>
        </pc:sldMkLst>
      </pc:sldChg>
      <pc:sldChg chg="add del">
        <pc:chgData name="Bedel, Yanick Noah" userId="c0f86fc0-9b55-4d74-958a-ff514487524f" providerId="ADAL" clId="{4491A316-F633-41B6-8B89-4C8AC32E41EE}" dt="2025-05-23T10:19:23.981" v="7557" actId="47"/>
        <pc:sldMkLst>
          <pc:docMk/>
          <pc:sldMk cId="1692916723" sldId="853"/>
        </pc:sldMkLst>
      </pc:sldChg>
      <pc:sldChg chg="add del">
        <pc:chgData name="Bedel, Yanick Noah" userId="c0f86fc0-9b55-4d74-958a-ff514487524f" providerId="ADAL" clId="{4491A316-F633-41B6-8B89-4C8AC32E41EE}" dt="2025-05-23T11:26:25.605" v="7626" actId="47"/>
        <pc:sldMkLst>
          <pc:docMk/>
          <pc:sldMk cId="3598056403" sldId="853"/>
        </pc:sldMkLst>
      </pc:sldChg>
      <pc:sldChg chg="modSp add del">
        <pc:chgData name="Bedel, Yanick Noah" userId="c0f86fc0-9b55-4d74-958a-ff514487524f" providerId="ADAL" clId="{4491A316-F633-41B6-8B89-4C8AC32E41EE}" dt="2025-05-23T07:34:15.644" v="7099" actId="47"/>
        <pc:sldMkLst>
          <pc:docMk/>
          <pc:sldMk cId="4085460951" sldId="853"/>
        </pc:sldMkLst>
      </pc:sldChg>
      <pc:sldChg chg="add">
        <pc:chgData name="Bedel, Yanick Noah" userId="c0f86fc0-9b55-4d74-958a-ff514487524f" providerId="ADAL" clId="{4491A316-F633-41B6-8B89-4C8AC32E41EE}" dt="2025-05-23T11:26:23.775" v="7625"/>
        <pc:sldMkLst>
          <pc:docMk/>
          <pc:sldMk cId="1475770056" sldId="854"/>
        </pc:sldMkLst>
      </pc:sldChg>
      <pc:sldMasterChg chg="addSp modSp mod delSldLayout modSldLayout">
        <pc:chgData name="Bedel, Yanick Noah" userId="c0f86fc0-9b55-4d74-958a-ff514487524f" providerId="ADAL" clId="{4491A316-F633-41B6-8B89-4C8AC32E41EE}" dt="2025-05-23T10:20:19.046" v="7560" actId="12788"/>
        <pc:sldMasterMkLst>
          <pc:docMk/>
          <pc:sldMasterMk cId="2684128550" sldId="2147483648"/>
        </pc:sldMasterMkLst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4" creationId="{2B636285-B3A7-52CB-0CD8-AE7A8CE6C457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5" creationId="{F11A2C37-C622-A1A9-DAD2-7D1AC49850F0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6" creationId="{B6B32922-5E28-DA6A-72E5-63B795466B8B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7" creationId="{F21505C0-6AF2-EAD6-9E9B-64FEC2E214FE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8" creationId="{0BD88645-7CC2-85A4-89FE-ECEB43645671}"/>
          </ac:spMkLst>
        </pc:spChg>
        <pc:cxnChg chg="add mod">
          <ac:chgData name="Bedel, Yanick Noah" userId="c0f86fc0-9b55-4d74-958a-ff514487524f" providerId="ADAL" clId="{4491A316-F633-41B6-8B89-4C8AC32E41EE}" dt="2025-05-22T12:43:43.605" v="648" actId="208"/>
          <ac:cxnSpMkLst>
            <pc:docMk/>
            <pc:sldMasterMk cId="2684128550" sldId="2147483648"/>
            <ac:cxnSpMk id="10" creationId="{52E2D653-5222-4434-14EB-F4D3C867532B}"/>
          </ac:cxnSpMkLst>
        </pc:cxnChg>
        <pc:sldLayoutChg chg="modSp mod">
          <pc:chgData name="Bedel, Yanick Noah" userId="c0f86fc0-9b55-4d74-958a-ff514487524f" providerId="ADAL" clId="{4491A316-F633-41B6-8B89-4C8AC32E41EE}" dt="2025-05-23T10:20:19.046" v="7560" actId="12788"/>
          <pc:sldLayoutMkLst>
            <pc:docMk/>
            <pc:sldMasterMk cId="2684128550" sldId="2147483648"/>
            <pc:sldLayoutMk cId="719778185" sldId="2147483650"/>
          </pc:sldLayoutMkLst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4" creationId="{D3669856-300F-79AF-2653-C5E9CB6796FA}"/>
            </ac:spMkLst>
          </pc:spChg>
          <pc:spChg chg="mod">
            <ac:chgData name="Bedel, Yanick Noah" userId="c0f86fc0-9b55-4d74-958a-ff514487524f" providerId="ADAL" clId="{4491A316-F633-41B6-8B89-4C8AC32E41EE}" dt="2025-05-23T10:20:19.046" v="7560" actId="12788"/>
            <ac:spMkLst>
              <pc:docMk/>
              <pc:sldMasterMk cId="2684128550" sldId="2147483648"/>
              <pc:sldLayoutMk cId="719778185" sldId="2147483650"/>
              <ac:spMk id="5" creationId="{81384023-AA65-D62E-104F-C87A18F7D728}"/>
            </ac:spMkLst>
          </pc:spChg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6" creationId="{E2ED32BE-9756-C9D1-C9E6-F25EFA2BDDC7}"/>
            </ac:spMkLst>
          </pc:spChg>
        </pc:sldLayoutChg>
        <pc:sldLayoutChg chg="del">
          <pc:chgData name="Bedel, Yanick Noah" userId="c0f86fc0-9b55-4d74-958a-ff514487524f" providerId="ADAL" clId="{4491A316-F633-41B6-8B89-4C8AC32E41EE}" dt="2025-05-22T12:11:16.970" v="444" actId="47"/>
          <pc:sldLayoutMkLst>
            <pc:docMk/>
            <pc:sldMasterMk cId="2684128550" sldId="2147483648"/>
            <pc:sldLayoutMk cId="342124717" sldId="2147483660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3:24.920" v="1331" actId="47"/>
        <pc:sldMasterMkLst>
          <pc:docMk/>
          <pc:sldMasterMk cId="252808396" sldId="2147483675"/>
        </pc:sldMasterMkLst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59090798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060821631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99291019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651311441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48365516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70957386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297302037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473244174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09770070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21928004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11807677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56:30.269" v="3352" actId="47"/>
        <pc:sldMasterMkLst>
          <pc:docMk/>
          <pc:sldMasterMk cId="1291178731" sldId="2147483675"/>
        </pc:sldMasterMkLst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13005161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795720528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5719815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38633973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97243455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25270877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162441279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575453336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23491537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11412190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522726853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48053250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217728953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55409199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75827507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73958331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142054258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99068401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5233605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21942706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97529974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209601984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34946270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06012788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78809775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808239042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954745884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4476475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20:14.458" v="2798" actId="47"/>
        <pc:sldMasterMkLst>
          <pc:docMk/>
          <pc:sldMasterMk cId="1959956004" sldId="2147483675"/>
        </pc:sldMasterMkLst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05698467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738865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71441116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68893518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066576087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2510734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402116865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833449132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63110891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483588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534201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58714477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546044926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62230387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618872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53595873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966110030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404368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33253163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505679479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236138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62653155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59731992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9453352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641263739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611343879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377831388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1705654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7:38.852" v="1388" actId="47"/>
        <pc:sldMasterMkLst>
          <pc:docMk/>
          <pc:sldMasterMk cId="3138639810" sldId="2147483675"/>
        </pc:sldMasterMkLst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466332523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1266719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44937367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671805965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14223778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6214018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019779281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242985393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18119649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459318279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08950275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3T07:47:55.221" v="7280" actId="47"/>
        <pc:sldMasterMkLst>
          <pc:docMk/>
          <pc:sldMasterMk cId="3894312031" sldId="2147483675"/>
        </pc:sldMasterMkLst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37989456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717481827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2420060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37502766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1335203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445584934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271491328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862566347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76755148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43770613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275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1409373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4273789357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785911516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755021059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05425147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01141364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7858342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72511447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92503941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55815425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056381043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16412247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574515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57580449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07467413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23374532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254589976" sldId="2147483703"/>
          </pc:sldLayoutMkLst>
        </pc:sldLayoutChg>
      </pc:sldMasterChg>
    </pc:docChg>
  </pc:docChgLst>
  <pc:docChgLst>
    <pc:chgData name="Bedel, Yanick Noah" userId="c0f86fc0-9b55-4d74-958a-ff514487524f" providerId="ADAL" clId="{A8B6BF52-C66A-4405-BEE3-6EBFA5D960B0}"/>
    <pc:docChg chg="undo custSel modSld">
      <pc:chgData name="Bedel, Yanick Noah" userId="c0f86fc0-9b55-4d74-958a-ff514487524f" providerId="ADAL" clId="{A8B6BF52-C66A-4405-BEE3-6EBFA5D960B0}" dt="2025-07-10T11:40:11.148" v="2316" actId="20577"/>
      <pc:docMkLst>
        <pc:docMk/>
      </pc:docMkLst>
      <pc:sldChg chg="modTransition modNotesTx">
        <pc:chgData name="Bedel, Yanick Noah" userId="c0f86fc0-9b55-4d74-958a-ff514487524f" providerId="ADAL" clId="{A8B6BF52-C66A-4405-BEE3-6EBFA5D960B0}" dt="2025-07-10T11:40:11.148" v="2316" actId="20577"/>
        <pc:sldMkLst>
          <pc:docMk/>
          <pc:sldMk cId="224690573" sldId="616"/>
        </pc:sldMkLst>
      </pc:sldChg>
      <pc:sldChg chg="modAnim">
        <pc:chgData name="Bedel, Yanick Noah" userId="c0f86fc0-9b55-4d74-958a-ff514487524f" providerId="ADAL" clId="{A8B6BF52-C66A-4405-BEE3-6EBFA5D960B0}" dt="2025-07-09T20:03:17.948" v="259"/>
        <pc:sldMkLst>
          <pc:docMk/>
          <pc:sldMk cId="2462796863" sldId="858"/>
        </pc:sldMkLst>
      </pc:sldChg>
      <pc:sldChg chg="addSp delSp modSp mod modAnim">
        <pc:chgData name="Bedel, Yanick Noah" userId="c0f86fc0-9b55-4d74-958a-ff514487524f" providerId="ADAL" clId="{A8B6BF52-C66A-4405-BEE3-6EBFA5D960B0}" dt="2025-07-09T19:56:33.263" v="194" actId="1076"/>
        <pc:sldMkLst>
          <pc:docMk/>
          <pc:sldMk cId="1401880333" sldId="862"/>
        </pc:sldMkLst>
        <pc:spChg chg="mod">
          <ac:chgData name="Bedel, Yanick Noah" userId="c0f86fc0-9b55-4d74-958a-ff514487524f" providerId="ADAL" clId="{A8B6BF52-C66A-4405-BEE3-6EBFA5D960B0}" dt="2025-07-09T19:56:26.909" v="192" actId="20577"/>
          <ac:spMkLst>
            <pc:docMk/>
            <pc:sldMk cId="1401880333" sldId="862"/>
            <ac:spMk id="12" creationId="{EB69051F-46A4-F2A4-BE81-E9230B0A9BBD}"/>
          </ac:spMkLst>
        </pc:spChg>
        <pc:spChg chg="del">
          <ac:chgData name="Bedel, Yanick Noah" userId="c0f86fc0-9b55-4d74-958a-ff514487524f" providerId="ADAL" clId="{A8B6BF52-C66A-4405-BEE3-6EBFA5D960B0}" dt="2025-07-09T19:29:42.769" v="29" actId="478"/>
          <ac:spMkLst>
            <pc:docMk/>
            <pc:sldMk cId="1401880333" sldId="862"/>
            <ac:spMk id="19" creationId="{02209FD5-9678-4858-50F9-C30FBFD2E4A8}"/>
          </ac:spMkLst>
        </pc:spChg>
        <pc:spChg chg="topLvl">
          <ac:chgData name="Bedel, Yanick Noah" userId="c0f86fc0-9b55-4d74-958a-ff514487524f" providerId="ADAL" clId="{A8B6BF52-C66A-4405-BEE3-6EBFA5D960B0}" dt="2025-07-09T19:28:57.946" v="18" actId="478"/>
          <ac:spMkLst>
            <pc:docMk/>
            <pc:sldMk cId="1401880333" sldId="862"/>
            <ac:spMk id="24" creationId="{15055B65-4B02-5C53-D96B-B42EE147E089}"/>
          </ac:spMkLst>
        </pc:spChg>
        <pc:spChg chg="topLvl">
          <ac:chgData name="Bedel, Yanick Noah" userId="c0f86fc0-9b55-4d74-958a-ff514487524f" providerId="ADAL" clId="{A8B6BF52-C66A-4405-BEE3-6EBFA5D960B0}" dt="2025-07-09T19:29:26.039" v="25" actId="478"/>
          <ac:spMkLst>
            <pc:docMk/>
            <pc:sldMk cId="1401880333" sldId="862"/>
            <ac:spMk id="28" creationId="{97645C9D-A648-B17C-24FF-52221FF7ADD5}"/>
          </ac:spMkLst>
        </pc:spChg>
        <pc:spChg chg="add mod">
          <ac:chgData name="Bedel, Yanick Noah" userId="c0f86fc0-9b55-4d74-958a-ff514487524f" providerId="ADAL" clId="{A8B6BF52-C66A-4405-BEE3-6EBFA5D960B0}" dt="2025-07-09T19:56:33.263" v="194" actId="1076"/>
          <ac:spMkLst>
            <pc:docMk/>
            <pc:sldMk cId="1401880333" sldId="862"/>
            <ac:spMk id="30" creationId="{C5C2D29A-74CD-913A-D0B9-D7E59D308F9A}"/>
          </ac:spMkLst>
        </pc:spChg>
        <pc:grpChg chg="del">
          <ac:chgData name="Bedel, Yanick Noah" userId="c0f86fc0-9b55-4d74-958a-ff514487524f" providerId="ADAL" clId="{A8B6BF52-C66A-4405-BEE3-6EBFA5D960B0}" dt="2025-07-09T19:28:57.946" v="18" actId="478"/>
          <ac:grpSpMkLst>
            <pc:docMk/>
            <pc:sldMk cId="1401880333" sldId="862"/>
            <ac:grpSpMk id="23" creationId="{16F4A641-58D0-42CB-D7E8-37F87B65A643}"/>
          </ac:grpSpMkLst>
        </pc:grpChg>
        <pc:grpChg chg="del">
          <ac:chgData name="Bedel, Yanick Noah" userId="c0f86fc0-9b55-4d74-958a-ff514487524f" providerId="ADAL" clId="{A8B6BF52-C66A-4405-BEE3-6EBFA5D960B0}" dt="2025-07-09T19:29:26.039" v="25" actId="478"/>
          <ac:grpSpMkLst>
            <pc:docMk/>
            <pc:sldMk cId="1401880333" sldId="862"/>
            <ac:grpSpMk id="26" creationId="{033A2F30-90D6-D07E-1907-C5958A50CCC1}"/>
          </ac:grpSpMkLst>
        </pc:grpChg>
        <pc:picChg chg="add mod">
          <ac:chgData name="Bedel, Yanick Noah" userId="c0f86fc0-9b55-4d74-958a-ff514487524f" providerId="ADAL" clId="{A8B6BF52-C66A-4405-BEE3-6EBFA5D960B0}" dt="2025-07-09T19:29:13.434" v="22" actId="1076"/>
          <ac:picMkLst>
            <pc:docMk/>
            <pc:sldMk cId="1401880333" sldId="862"/>
            <ac:picMk id="21" creationId="{1C387CB9-60FD-EF40-2160-3958F1509B6C}"/>
          </ac:picMkLst>
        </pc:picChg>
        <pc:picChg chg="del topLvl">
          <ac:chgData name="Bedel, Yanick Noah" userId="c0f86fc0-9b55-4d74-958a-ff514487524f" providerId="ADAL" clId="{A8B6BF52-C66A-4405-BEE3-6EBFA5D960B0}" dt="2025-07-09T19:28:57.946" v="18" actId="478"/>
          <ac:picMkLst>
            <pc:docMk/>
            <pc:sldMk cId="1401880333" sldId="862"/>
            <ac:picMk id="25" creationId="{4BA632FA-A50B-040E-2801-BDE34F2858BB}"/>
          </ac:picMkLst>
        </pc:picChg>
        <pc:picChg chg="del topLvl">
          <ac:chgData name="Bedel, Yanick Noah" userId="c0f86fc0-9b55-4d74-958a-ff514487524f" providerId="ADAL" clId="{A8B6BF52-C66A-4405-BEE3-6EBFA5D960B0}" dt="2025-07-09T19:29:26.039" v="25" actId="478"/>
          <ac:picMkLst>
            <pc:docMk/>
            <pc:sldMk cId="1401880333" sldId="862"/>
            <ac:picMk id="27" creationId="{38282E14-869A-F23A-E045-A0C3E3C7ECCA}"/>
          </ac:picMkLst>
        </pc:picChg>
        <pc:picChg chg="add mod">
          <ac:chgData name="Bedel, Yanick Noah" userId="c0f86fc0-9b55-4d74-958a-ff514487524f" providerId="ADAL" clId="{A8B6BF52-C66A-4405-BEE3-6EBFA5D960B0}" dt="2025-07-09T19:29:35.878" v="28" actId="1076"/>
          <ac:picMkLst>
            <pc:docMk/>
            <pc:sldMk cId="1401880333" sldId="862"/>
            <ac:picMk id="29" creationId="{60A0CEFB-C7F9-2174-58C8-0D159ED7852E}"/>
          </ac:picMkLst>
        </pc:picChg>
      </pc:sldChg>
      <pc:sldChg chg="addSp delSp modSp mod modAnim modNotesTx">
        <pc:chgData name="Bedel, Yanick Noah" userId="c0f86fc0-9b55-4d74-958a-ff514487524f" providerId="ADAL" clId="{A8B6BF52-C66A-4405-BEE3-6EBFA5D960B0}" dt="2025-07-10T11:32:13.865" v="2184" actId="6549"/>
        <pc:sldMkLst>
          <pc:docMk/>
          <pc:sldMk cId="3484090773" sldId="864"/>
        </pc:sldMkLst>
        <pc:spChg chg="mod">
          <ac:chgData name="Bedel, Yanick Noah" userId="c0f86fc0-9b55-4d74-958a-ff514487524f" providerId="ADAL" clId="{A8B6BF52-C66A-4405-BEE3-6EBFA5D960B0}" dt="2025-07-10T07:28:48.102" v="405" actId="20577"/>
          <ac:spMkLst>
            <pc:docMk/>
            <pc:sldMk cId="3484090773" sldId="864"/>
            <ac:spMk id="23" creationId="{1566BB50-3AE9-CDD2-8D28-A2F9099266AF}"/>
          </ac:spMkLst>
        </pc:spChg>
        <pc:spChg chg="mod">
          <ac:chgData name="Bedel, Yanick Noah" userId="c0f86fc0-9b55-4d74-958a-ff514487524f" providerId="ADAL" clId="{A8B6BF52-C66A-4405-BEE3-6EBFA5D960B0}" dt="2025-07-09T20:01:55.734" v="248" actId="20577"/>
          <ac:spMkLst>
            <pc:docMk/>
            <pc:sldMk cId="3484090773" sldId="864"/>
            <ac:spMk id="24" creationId="{CB679F17-E4EC-3444-26EC-7D6F7B157BED}"/>
          </ac:spMkLst>
        </pc:spChg>
        <pc:spChg chg="del mod topLvl">
          <ac:chgData name="Bedel, Yanick Noah" userId="c0f86fc0-9b55-4d74-958a-ff514487524f" providerId="ADAL" clId="{A8B6BF52-C66A-4405-BEE3-6EBFA5D960B0}" dt="2025-07-09T19:44:19.326" v="92" actId="478"/>
          <ac:spMkLst>
            <pc:docMk/>
            <pc:sldMk cId="3484090773" sldId="864"/>
            <ac:spMk id="37" creationId="{05F2EDC6-B6EF-7F3C-F384-0FB1C246B53A}"/>
          </ac:spMkLst>
        </pc:spChg>
        <pc:spChg chg="del mod topLvl">
          <ac:chgData name="Bedel, Yanick Noah" userId="c0f86fc0-9b55-4d74-958a-ff514487524f" providerId="ADAL" clId="{A8B6BF52-C66A-4405-BEE3-6EBFA5D960B0}" dt="2025-07-09T19:44:19.326" v="92" actId="478"/>
          <ac:spMkLst>
            <pc:docMk/>
            <pc:sldMk cId="3484090773" sldId="864"/>
            <ac:spMk id="38" creationId="{7918CC92-EA27-1583-EDEE-C172B5B175D9}"/>
          </ac:spMkLst>
        </pc:spChg>
        <pc:spChg chg="mod topLvl">
          <ac:chgData name="Bedel, Yanick Noah" userId="c0f86fc0-9b55-4d74-958a-ff514487524f" providerId="ADAL" clId="{A8B6BF52-C66A-4405-BEE3-6EBFA5D960B0}" dt="2025-07-09T19:44:17.449" v="91" actId="165"/>
          <ac:spMkLst>
            <pc:docMk/>
            <pc:sldMk cId="3484090773" sldId="864"/>
            <ac:spMk id="39" creationId="{79D69ECE-13B9-38DE-11AD-8088A96BE7D0}"/>
          </ac:spMkLst>
        </pc:spChg>
        <pc:spChg chg="del mod topLvl">
          <ac:chgData name="Bedel, Yanick Noah" userId="c0f86fc0-9b55-4d74-958a-ff514487524f" providerId="ADAL" clId="{A8B6BF52-C66A-4405-BEE3-6EBFA5D960B0}" dt="2025-07-09T19:44:27.336" v="94" actId="478"/>
          <ac:spMkLst>
            <pc:docMk/>
            <pc:sldMk cId="3484090773" sldId="864"/>
            <ac:spMk id="41" creationId="{547E3442-10C1-B018-EEEF-A28054D63489}"/>
          </ac:spMkLst>
        </pc:spChg>
        <pc:spChg chg="mod topLvl">
          <ac:chgData name="Bedel, Yanick Noah" userId="c0f86fc0-9b55-4d74-958a-ff514487524f" providerId="ADAL" clId="{A8B6BF52-C66A-4405-BEE3-6EBFA5D960B0}" dt="2025-07-09T19:44:24.942" v="93" actId="165"/>
          <ac:spMkLst>
            <pc:docMk/>
            <pc:sldMk cId="3484090773" sldId="864"/>
            <ac:spMk id="42" creationId="{2B5F8821-3B8B-99BC-7E36-CB07910C6C46}"/>
          </ac:spMkLst>
        </pc:spChg>
        <pc:spChg chg="del mod topLvl">
          <ac:chgData name="Bedel, Yanick Noah" userId="c0f86fc0-9b55-4d74-958a-ff514487524f" providerId="ADAL" clId="{A8B6BF52-C66A-4405-BEE3-6EBFA5D960B0}" dt="2025-07-09T19:44:46.716" v="98" actId="478"/>
          <ac:spMkLst>
            <pc:docMk/>
            <pc:sldMk cId="3484090773" sldId="864"/>
            <ac:spMk id="44" creationId="{938DA70D-EADB-6319-2CD9-7C115BF9A2F9}"/>
          </ac:spMkLst>
        </pc:spChg>
        <pc:spChg chg="mod topLvl">
          <ac:chgData name="Bedel, Yanick Noah" userId="c0f86fc0-9b55-4d74-958a-ff514487524f" providerId="ADAL" clId="{A8B6BF52-C66A-4405-BEE3-6EBFA5D960B0}" dt="2025-07-09T19:44:44.069" v="97" actId="165"/>
          <ac:spMkLst>
            <pc:docMk/>
            <pc:sldMk cId="3484090773" sldId="864"/>
            <ac:spMk id="45" creationId="{1987BF6F-2737-B851-EC87-CDF30B591B00}"/>
          </ac:spMkLst>
        </pc:spChg>
        <pc:spChg chg="del mod topLvl">
          <ac:chgData name="Bedel, Yanick Noah" userId="c0f86fc0-9b55-4d74-958a-ff514487524f" providerId="ADAL" clId="{A8B6BF52-C66A-4405-BEE3-6EBFA5D960B0}" dt="2025-07-09T19:44:39.148" v="96" actId="478"/>
          <ac:spMkLst>
            <pc:docMk/>
            <pc:sldMk cId="3484090773" sldId="864"/>
            <ac:spMk id="47" creationId="{FC698C9E-7606-BF11-E8BF-1EE05638BD8A}"/>
          </ac:spMkLst>
        </pc:spChg>
        <pc:spChg chg="del mod topLvl">
          <ac:chgData name="Bedel, Yanick Noah" userId="c0f86fc0-9b55-4d74-958a-ff514487524f" providerId="ADAL" clId="{A8B6BF52-C66A-4405-BEE3-6EBFA5D960B0}" dt="2025-07-09T19:44:39.148" v="96" actId="478"/>
          <ac:spMkLst>
            <pc:docMk/>
            <pc:sldMk cId="3484090773" sldId="864"/>
            <ac:spMk id="48" creationId="{84174960-44EC-2D3B-F90E-7E97B8E953F4}"/>
          </ac:spMkLst>
        </pc:spChg>
        <pc:spChg chg="mod topLvl">
          <ac:chgData name="Bedel, Yanick Noah" userId="c0f86fc0-9b55-4d74-958a-ff514487524f" providerId="ADAL" clId="{A8B6BF52-C66A-4405-BEE3-6EBFA5D960B0}" dt="2025-07-09T19:44:37.103" v="95" actId="165"/>
          <ac:spMkLst>
            <pc:docMk/>
            <pc:sldMk cId="3484090773" sldId="864"/>
            <ac:spMk id="49" creationId="{37CD460C-4062-5C8C-88A4-3BF42659AA00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54" creationId="{1124DA85-BCD9-39EC-78A7-C3E6F0D30AF2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55" creationId="{04B7D291-F154-0866-88D0-EA1351F61BA3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59" creationId="{69C2FCC9-5447-28FF-55D4-1D73EE052096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61" creationId="{922E8C02-1CDA-A8DF-3251-25BE64F1F1E3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64" creationId="{7100BD95-D4C0-D708-2569-30CEA9928317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65" creationId="{D72652EF-5416-AEFE-6983-1A910122692C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66" creationId="{EB2E9A20-4577-C6FC-0D29-6225BE459390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69" creationId="{92C7DE94-FCDE-D634-E7F2-E29B195FD21C}"/>
          </ac:spMkLst>
        </pc:spChg>
        <pc:spChg chg="del">
          <ac:chgData name="Bedel, Yanick Noah" userId="c0f86fc0-9b55-4d74-958a-ff514487524f" providerId="ADAL" clId="{A8B6BF52-C66A-4405-BEE3-6EBFA5D960B0}" dt="2025-07-09T19:37:02.255" v="76" actId="478"/>
          <ac:spMkLst>
            <pc:docMk/>
            <pc:sldMk cId="3484090773" sldId="864"/>
            <ac:spMk id="70" creationId="{700CB476-9648-3472-2F15-6364E0807EB3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71" creationId="{4B4E0084-FB4B-5384-B345-0DF09DC8023F}"/>
          </ac:spMkLst>
        </pc:spChg>
        <pc:spChg chg="mod">
          <ac:chgData name="Bedel, Yanick Noah" userId="c0f86fc0-9b55-4d74-958a-ff514487524f" providerId="ADAL" clId="{A8B6BF52-C66A-4405-BEE3-6EBFA5D960B0}" dt="2025-07-09T20:01:08.902" v="231"/>
          <ac:spMkLst>
            <pc:docMk/>
            <pc:sldMk cId="3484090773" sldId="864"/>
            <ac:spMk id="73" creationId="{5FB1CB81-6379-72B9-F628-9F3399CE35BA}"/>
          </ac:spMkLst>
        </pc:spChg>
        <pc:grpChg chg="mod">
          <ac:chgData name="Bedel, Yanick Noah" userId="c0f86fc0-9b55-4d74-958a-ff514487524f" providerId="ADAL" clId="{A8B6BF52-C66A-4405-BEE3-6EBFA5D960B0}" dt="2025-07-09T20:01:34.927" v="239" actId="555"/>
          <ac:grpSpMkLst>
            <pc:docMk/>
            <pc:sldMk cId="3484090773" sldId="864"/>
            <ac:grpSpMk id="13" creationId="{0DEBE6BC-8C49-6082-A908-07B89E4782E8}"/>
          </ac:grpSpMkLst>
        </pc:grpChg>
        <pc:grpChg chg="mod">
          <ac:chgData name="Bedel, Yanick Noah" userId="c0f86fc0-9b55-4d74-958a-ff514487524f" providerId="ADAL" clId="{A8B6BF52-C66A-4405-BEE3-6EBFA5D960B0}" dt="2025-07-09T20:01:44.808" v="243" actId="555"/>
          <ac:grpSpMkLst>
            <pc:docMk/>
            <pc:sldMk cId="3484090773" sldId="864"/>
            <ac:grpSpMk id="14" creationId="{8114DD72-4041-3982-B180-7E984E6F5DCE}"/>
          </ac:grpSpMkLst>
        </pc:grpChg>
        <pc:grpChg chg="del">
          <ac:chgData name="Bedel, Yanick Noah" userId="c0f86fc0-9b55-4d74-958a-ff514487524f" providerId="ADAL" clId="{A8B6BF52-C66A-4405-BEE3-6EBFA5D960B0}" dt="2025-07-09T19:44:17.449" v="91" actId="165"/>
          <ac:grpSpMkLst>
            <pc:docMk/>
            <pc:sldMk cId="3484090773" sldId="864"/>
            <ac:grpSpMk id="36" creationId="{538F589B-4481-3250-C9AA-2AA0B109B88D}"/>
          </ac:grpSpMkLst>
        </pc:grpChg>
        <pc:grpChg chg="del">
          <ac:chgData name="Bedel, Yanick Noah" userId="c0f86fc0-9b55-4d74-958a-ff514487524f" providerId="ADAL" clId="{A8B6BF52-C66A-4405-BEE3-6EBFA5D960B0}" dt="2025-07-09T19:44:24.942" v="93" actId="165"/>
          <ac:grpSpMkLst>
            <pc:docMk/>
            <pc:sldMk cId="3484090773" sldId="864"/>
            <ac:grpSpMk id="40" creationId="{C4D7F371-F71C-D0A7-C2B4-87C2B88FDC72}"/>
          </ac:grpSpMkLst>
        </pc:grpChg>
        <pc:grpChg chg="del">
          <ac:chgData name="Bedel, Yanick Noah" userId="c0f86fc0-9b55-4d74-958a-ff514487524f" providerId="ADAL" clId="{A8B6BF52-C66A-4405-BEE3-6EBFA5D960B0}" dt="2025-07-09T19:44:44.069" v="97" actId="165"/>
          <ac:grpSpMkLst>
            <pc:docMk/>
            <pc:sldMk cId="3484090773" sldId="864"/>
            <ac:grpSpMk id="43" creationId="{2E5CBAEF-2F4B-AB26-3188-75F8C32F26EB}"/>
          </ac:grpSpMkLst>
        </pc:grpChg>
        <pc:grpChg chg="del">
          <ac:chgData name="Bedel, Yanick Noah" userId="c0f86fc0-9b55-4d74-958a-ff514487524f" providerId="ADAL" clId="{A8B6BF52-C66A-4405-BEE3-6EBFA5D960B0}" dt="2025-07-09T19:44:37.103" v="95" actId="165"/>
          <ac:grpSpMkLst>
            <pc:docMk/>
            <pc:sldMk cId="3484090773" sldId="864"/>
            <ac:grpSpMk id="46" creationId="{4CCC3027-F837-6DFF-6B7D-ECE2D8D1100E}"/>
          </ac:grpSpMkLst>
        </pc:grpChg>
        <pc:grpChg chg="mod">
          <ac:chgData name="Bedel, Yanick Noah" userId="c0f86fc0-9b55-4d74-958a-ff514487524f" providerId="ADAL" clId="{A8B6BF52-C66A-4405-BEE3-6EBFA5D960B0}" dt="2025-07-09T20:01:34.927" v="239" actId="555"/>
          <ac:grpSpMkLst>
            <pc:docMk/>
            <pc:sldMk cId="3484090773" sldId="864"/>
            <ac:grpSpMk id="53" creationId="{A1B88091-9254-6899-A4FA-D92B0CBC7B2F}"/>
          </ac:grpSpMkLst>
        </pc:grpChg>
        <pc:grpChg chg="mod">
          <ac:chgData name="Bedel, Yanick Noah" userId="c0f86fc0-9b55-4d74-958a-ff514487524f" providerId="ADAL" clId="{A8B6BF52-C66A-4405-BEE3-6EBFA5D960B0}" dt="2025-07-09T20:01:44.808" v="243" actId="555"/>
          <ac:grpSpMkLst>
            <pc:docMk/>
            <pc:sldMk cId="3484090773" sldId="864"/>
            <ac:grpSpMk id="58" creationId="{A4929E69-363B-8EA8-7585-BFAD3771B729}"/>
          </ac:grpSpMkLst>
        </pc:grpChg>
        <pc:grpChg chg="mod">
          <ac:chgData name="Bedel, Yanick Noah" userId="c0f86fc0-9b55-4d74-958a-ff514487524f" providerId="ADAL" clId="{A8B6BF52-C66A-4405-BEE3-6EBFA5D960B0}" dt="2025-07-09T20:01:39.967" v="241" actId="555"/>
          <ac:grpSpMkLst>
            <pc:docMk/>
            <pc:sldMk cId="3484090773" sldId="864"/>
            <ac:grpSpMk id="63" creationId="{706A047F-61B6-E722-E679-0CB4FFF76647}"/>
          </ac:grpSpMkLst>
        </pc:grpChg>
        <pc:grpChg chg="mod">
          <ac:chgData name="Bedel, Yanick Noah" userId="c0f86fc0-9b55-4d74-958a-ff514487524f" providerId="ADAL" clId="{A8B6BF52-C66A-4405-BEE3-6EBFA5D960B0}" dt="2025-07-09T20:01:25.512" v="234" actId="554"/>
          <ac:grpSpMkLst>
            <pc:docMk/>
            <pc:sldMk cId="3484090773" sldId="864"/>
            <ac:grpSpMk id="68" creationId="{F1E6DAED-45FA-D5AE-4393-FDA7790A3C17}"/>
          </ac:grpSpMkLst>
        </pc:grpChg>
        <pc:picChg chg="add mod">
          <ac:chgData name="Bedel, Yanick Noah" userId="c0f86fc0-9b55-4d74-958a-ff514487524f" providerId="ADAL" clId="{A8B6BF52-C66A-4405-BEE3-6EBFA5D960B0}" dt="2025-07-09T19:45:50.518" v="121" actId="1076"/>
          <ac:picMkLst>
            <pc:docMk/>
            <pc:sldMk cId="3484090773" sldId="864"/>
            <ac:picMk id="17" creationId="{88B72D1E-408C-E202-0398-F5399801FDB7}"/>
          </ac:picMkLst>
        </pc:picChg>
        <pc:picChg chg="add mod">
          <ac:chgData name="Bedel, Yanick Noah" userId="c0f86fc0-9b55-4d74-958a-ff514487524f" providerId="ADAL" clId="{A8B6BF52-C66A-4405-BEE3-6EBFA5D960B0}" dt="2025-07-09T19:45:38.778" v="117" actId="1076"/>
          <ac:picMkLst>
            <pc:docMk/>
            <pc:sldMk cId="3484090773" sldId="864"/>
            <ac:picMk id="19" creationId="{8C4C30C6-FB24-C835-AC45-D6E3174296CE}"/>
          </ac:picMkLst>
        </pc:picChg>
        <pc:picChg chg="add mod">
          <ac:chgData name="Bedel, Yanick Noah" userId="c0f86fc0-9b55-4d74-958a-ff514487524f" providerId="ADAL" clId="{A8B6BF52-C66A-4405-BEE3-6EBFA5D960B0}" dt="2025-07-09T19:45:01.680" v="105" actId="1076"/>
          <ac:picMkLst>
            <pc:docMk/>
            <pc:sldMk cId="3484090773" sldId="864"/>
            <ac:picMk id="50" creationId="{F57144B8-5DEE-90AE-D966-C747A55BBE50}"/>
          </ac:picMkLst>
        </pc:picChg>
        <pc:picChg chg="add mod">
          <ac:chgData name="Bedel, Yanick Noah" userId="c0f86fc0-9b55-4d74-958a-ff514487524f" providerId="ADAL" clId="{A8B6BF52-C66A-4405-BEE3-6EBFA5D960B0}" dt="2025-07-09T19:45:28.725" v="114" actId="1076"/>
          <ac:picMkLst>
            <pc:docMk/>
            <pc:sldMk cId="3484090773" sldId="864"/>
            <ac:picMk id="52" creationId="{685D74B2-3FC2-6981-1EC5-7C4FEE878EFD}"/>
          </ac:picMkLst>
        </pc:picChg>
        <pc:picChg chg="mod">
          <ac:chgData name="Bedel, Yanick Noah" userId="c0f86fc0-9b55-4d74-958a-ff514487524f" providerId="ADAL" clId="{A8B6BF52-C66A-4405-BEE3-6EBFA5D960B0}" dt="2025-07-09T20:01:25.512" v="234" actId="554"/>
          <ac:picMkLst>
            <pc:docMk/>
            <pc:sldMk cId="3484090773" sldId="864"/>
            <ac:picMk id="80" creationId="{F0C84DB8-598B-AA11-1C06-8FF4378915B7}"/>
          </ac:picMkLst>
        </pc:picChg>
        <pc:picChg chg="mod">
          <ac:chgData name="Bedel, Yanick Noah" userId="c0f86fc0-9b55-4d74-958a-ff514487524f" providerId="ADAL" clId="{A8B6BF52-C66A-4405-BEE3-6EBFA5D960B0}" dt="2025-07-09T20:01:39.967" v="241" actId="555"/>
          <ac:picMkLst>
            <pc:docMk/>
            <pc:sldMk cId="3484090773" sldId="864"/>
            <ac:picMk id="90" creationId="{93227EF4-B94E-3FC2-B247-68B2F669AED9}"/>
          </ac:picMkLst>
        </pc:picChg>
      </pc:sldChg>
      <pc:sldChg chg="addSp delSp modSp mod delAnim modAnim modNotesTx">
        <pc:chgData name="Bedel, Yanick Noah" userId="c0f86fc0-9b55-4d74-958a-ff514487524f" providerId="ADAL" clId="{A8B6BF52-C66A-4405-BEE3-6EBFA5D960B0}" dt="2025-07-10T08:58:51.721" v="2182" actId="20577"/>
        <pc:sldMkLst>
          <pc:docMk/>
          <pc:sldMk cId="1627690726" sldId="867"/>
        </pc:sldMkLst>
        <pc:spChg chg="topLvl">
          <ac:chgData name="Bedel, Yanick Noah" userId="c0f86fc0-9b55-4d74-958a-ff514487524f" providerId="ADAL" clId="{A8B6BF52-C66A-4405-BEE3-6EBFA5D960B0}" dt="2025-07-09T19:49:04.895" v="134" actId="478"/>
          <ac:spMkLst>
            <pc:docMk/>
            <pc:sldMk cId="1627690726" sldId="867"/>
            <ac:spMk id="27" creationId="{4D741C20-7F70-478E-9A18-C84D72BF4AC6}"/>
          </ac:spMkLst>
        </pc:spChg>
        <pc:spChg chg="topLvl">
          <ac:chgData name="Bedel, Yanick Noah" userId="c0f86fc0-9b55-4d74-958a-ff514487524f" providerId="ADAL" clId="{A8B6BF52-C66A-4405-BEE3-6EBFA5D960B0}" dt="2025-07-09T19:50:29.712" v="144" actId="478"/>
          <ac:spMkLst>
            <pc:docMk/>
            <pc:sldMk cId="1627690726" sldId="867"/>
            <ac:spMk id="30" creationId="{C8727FC6-1FAE-AD61-037A-C053B5F07755}"/>
          </ac:spMkLst>
        </pc:spChg>
        <pc:spChg chg="topLvl">
          <ac:chgData name="Bedel, Yanick Noah" userId="c0f86fc0-9b55-4d74-958a-ff514487524f" providerId="ADAL" clId="{A8B6BF52-C66A-4405-BEE3-6EBFA5D960B0}" dt="2025-07-09T19:47:19.536" v="126" actId="478"/>
          <ac:spMkLst>
            <pc:docMk/>
            <pc:sldMk cId="1627690726" sldId="867"/>
            <ac:spMk id="33" creationId="{89E5BD6B-1043-807F-29BB-749E39D23554}"/>
          </ac:spMkLst>
        </pc:spChg>
        <pc:spChg chg="del">
          <ac:chgData name="Bedel, Yanick Noah" userId="c0f86fc0-9b55-4d74-958a-ff514487524f" providerId="ADAL" clId="{A8B6BF52-C66A-4405-BEE3-6EBFA5D960B0}" dt="2025-07-09T19:46:04.247" v="122" actId="478"/>
          <ac:spMkLst>
            <pc:docMk/>
            <pc:sldMk cId="1627690726" sldId="867"/>
            <ac:spMk id="35" creationId="{6D6C2F42-C9B4-D2C9-F367-DA17D08CFB38}"/>
          </ac:spMkLst>
        </pc:spChg>
        <pc:grpChg chg="del">
          <ac:chgData name="Bedel, Yanick Noah" userId="c0f86fc0-9b55-4d74-958a-ff514487524f" providerId="ADAL" clId="{A8B6BF52-C66A-4405-BEE3-6EBFA5D960B0}" dt="2025-07-09T19:49:04.895" v="134" actId="478"/>
          <ac:grpSpMkLst>
            <pc:docMk/>
            <pc:sldMk cId="1627690726" sldId="867"/>
            <ac:grpSpMk id="26" creationId="{2B34ECA8-C5BE-EA22-5969-D4ECE4997F6F}"/>
          </ac:grpSpMkLst>
        </pc:grpChg>
        <pc:grpChg chg="del">
          <ac:chgData name="Bedel, Yanick Noah" userId="c0f86fc0-9b55-4d74-958a-ff514487524f" providerId="ADAL" clId="{A8B6BF52-C66A-4405-BEE3-6EBFA5D960B0}" dt="2025-07-09T19:50:29.712" v="144" actId="478"/>
          <ac:grpSpMkLst>
            <pc:docMk/>
            <pc:sldMk cId="1627690726" sldId="867"/>
            <ac:grpSpMk id="29" creationId="{F301AE32-9966-4A3B-7456-03222A1B27D9}"/>
          </ac:grpSpMkLst>
        </pc:grpChg>
        <pc:grpChg chg="del">
          <ac:chgData name="Bedel, Yanick Noah" userId="c0f86fc0-9b55-4d74-958a-ff514487524f" providerId="ADAL" clId="{A8B6BF52-C66A-4405-BEE3-6EBFA5D960B0}" dt="2025-07-09T19:47:19.536" v="126" actId="478"/>
          <ac:grpSpMkLst>
            <pc:docMk/>
            <pc:sldMk cId="1627690726" sldId="867"/>
            <ac:grpSpMk id="32" creationId="{22A9338E-7D1F-5702-BDC8-A79B40D66055}"/>
          </ac:grpSpMkLst>
        </pc:grpChg>
        <pc:picChg chg="add mod">
          <ac:chgData name="Bedel, Yanick Noah" userId="c0f86fc0-9b55-4d74-958a-ff514487524f" providerId="ADAL" clId="{A8B6BF52-C66A-4405-BEE3-6EBFA5D960B0}" dt="2025-07-09T19:47:29.334" v="130" actId="1076"/>
          <ac:picMkLst>
            <pc:docMk/>
            <pc:sldMk cId="1627690726" sldId="867"/>
            <ac:picMk id="25" creationId="{0A79DF0A-775C-C24A-93FE-8DCCCA6EE88A}"/>
          </ac:picMkLst>
        </pc:picChg>
        <pc:picChg chg="del topLvl">
          <ac:chgData name="Bedel, Yanick Noah" userId="c0f86fc0-9b55-4d74-958a-ff514487524f" providerId="ADAL" clId="{A8B6BF52-C66A-4405-BEE3-6EBFA5D960B0}" dt="2025-07-09T19:49:04.895" v="134" actId="478"/>
          <ac:picMkLst>
            <pc:docMk/>
            <pc:sldMk cId="1627690726" sldId="867"/>
            <ac:picMk id="28" creationId="{9DD0ADBB-0F80-23FB-9399-DBFF81841AC6}"/>
          </ac:picMkLst>
        </pc:picChg>
        <pc:picChg chg="del topLvl">
          <ac:chgData name="Bedel, Yanick Noah" userId="c0f86fc0-9b55-4d74-958a-ff514487524f" providerId="ADAL" clId="{A8B6BF52-C66A-4405-BEE3-6EBFA5D960B0}" dt="2025-07-09T19:50:29.712" v="144" actId="478"/>
          <ac:picMkLst>
            <pc:docMk/>
            <pc:sldMk cId="1627690726" sldId="867"/>
            <ac:picMk id="31" creationId="{5212E1AA-00D8-3983-3C70-87A287D26ABF}"/>
          </ac:picMkLst>
        </pc:picChg>
        <pc:picChg chg="del topLvl">
          <ac:chgData name="Bedel, Yanick Noah" userId="c0f86fc0-9b55-4d74-958a-ff514487524f" providerId="ADAL" clId="{A8B6BF52-C66A-4405-BEE3-6EBFA5D960B0}" dt="2025-07-09T19:47:19.536" v="126" actId="478"/>
          <ac:picMkLst>
            <pc:docMk/>
            <pc:sldMk cId="1627690726" sldId="867"/>
            <ac:picMk id="34" creationId="{2150F9B9-7586-7725-7772-7C152A7001AD}"/>
          </ac:picMkLst>
        </pc:picChg>
        <pc:picChg chg="add mod">
          <ac:chgData name="Bedel, Yanick Noah" userId="c0f86fc0-9b55-4d74-958a-ff514487524f" providerId="ADAL" clId="{A8B6BF52-C66A-4405-BEE3-6EBFA5D960B0}" dt="2025-07-09T19:49:16.096" v="135" actId="1076"/>
          <ac:picMkLst>
            <pc:docMk/>
            <pc:sldMk cId="1627690726" sldId="867"/>
            <ac:picMk id="37" creationId="{69A5961C-AF25-8AD3-EA0B-1FE5D41BE6B2}"/>
          </ac:picMkLst>
        </pc:picChg>
        <pc:picChg chg="add del mod">
          <ac:chgData name="Bedel, Yanick Noah" userId="c0f86fc0-9b55-4d74-958a-ff514487524f" providerId="ADAL" clId="{A8B6BF52-C66A-4405-BEE3-6EBFA5D960B0}" dt="2025-07-09T19:50:00.502" v="138" actId="478"/>
          <ac:picMkLst>
            <pc:docMk/>
            <pc:sldMk cId="1627690726" sldId="867"/>
            <ac:picMk id="39" creationId="{639F08BB-9B54-7B5C-FB11-956B248713F7}"/>
          </ac:picMkLst>
        </pc:picChg>
        <pc:picChg chg="add del mod">
          <ac:chgData name="Bedel, Yanick Noah" userId="c0f86fc0-9b55-4d74-958a-ff514487524f" providerId="ADAL" clId="{A8B6BF52-C66A-4405-BEE3-6EBFA5D960B0}" dt="2025-07-09T19:50:05.452" v="140" actId="478"/>
          <ac:picMkLst>
            <pc:docMk/>
            <pc:sldMk cId="1627690726" sldId="867"/>
            <ac:picMk id="41" creationId="{6CD67527-21A8-C436-64F0-0EEE680ADA26}"/>
          </ac:picMkLst>
        </pc:picChg>
        <pc:picChg chg="add mod">
          <ac:chgData name="Bedel, Yanick Noah" userId="c0f86fc0-9b55-4d74-958a-ff514487524f" providerId="ADAL" clId="{A8B6BF52-C66A-4405-BEE3-6EBFA5D960B0}" dt="2025-07-09T19:50:45.813" v="149" actId="1076"/>
          <ac:picMkLst>
            <pc:docMk/>
            <pc:sldMk cId="1627690726" sldId="867"/>
            <ac:picMk id="43" creationId="{958533E7-F588-AC47-EC61-994B59AF9A0C}"/>
          </ac:picMkLst>
        </pc:picChg>
      </pc:sldChg>
      <pc:sldChg chg="delSp mod">
        <pc:chgData name="Bedel, Yanick Noah" userId="c0f86fc0-9b55-4d74-958a-ff514487524f" providerId="ADAL" clId="{A8B6BF52-C66A-4405-BEE3-6EBFA5D960B0}" dt="2025-07-09T19:26:35.782" v="8" actId="478"/>
        <pc:sldMkLst>
          <pc:docMk/>
          <pc:sldMk cId="1710046366" sldId="875"/>
        </pc:sldMkLst>
        <pc:spChg chg="del">
          <ac:chgData name="Bedel, Yanick Noah" userId="c0f86fc0-9b55-4d74-958a-ff514487524f" providerId="ADAL" clId="{A8B6BF52-C66A-4405-BEE3-6EBFA5D960B0}" dt="2025-07-09T19:26:35.782" v="8" actId="478"/>
          <ac:spMkLst>
            <pc:docMk/>
            <pc:sldMk cId="1710046366" sldId="875"/>
            <ac:spMk id="31" creationId="{99D36D87-360A-9679-12E8-4207FF23C0AC}"/>
          </ac:spMkLst>
        </pc:spChg>
      </pc:sldChg>
      <pc:sldChg chg="delSp mod">
        <pc:chgData name="Bedel, Yanick Noah" userId="c0f86fc0-9b55-4d74-958a-ff514487524f" providerId="ADAL" clId="{A8B6BF52-C66A-4405-BEE3-6EBFA5D960B0}" dt="2025-07-09T19:26:31.634" v="7" actId="478"/>
        <pc:sldMkLst>
          <pc:docMk/>
          <pc:sldMk cId="3633799377" sldId="876"/>
        </pc:sldMkLst>
        <pc:spChg chg="del">
          <ac:chgData name="Bedel, Yanick Noah" userId="c0f86fc0-9b55-4d74-958a-ff514487524f" providerId="ADAL" clId="{A8B6BF52-C66A-4405-BEE3-6EBFA5D960B0}" dt="2025-07-09T19:26:31.634" v="7" actId="478"/>
          <ac:spMkLst>
            <pc:docMk/>
            <pc:sldMk cId="3633799377" sldId="876"/>
            <ac:spMk id="31" creationId="{34714593-E20A-3EC9-3DC1-46E50835B1A1}"/>
          </ac:spMkLst>
        </pc:spChg>
      </pc:sldChg>
      <pc:sldChg chg="delSp mod">
        <pc:chgData name="Bedel, Yanick Noah" userId="c0f86fc0-9b55-4d74-958a-ff514487524f" providerId="ADAL" clId="{A8B6BF52-C66A-4405-BEE3-6EBFA5D960B0}" dt="2025-07-09T19:26:29.070" v="6" actId="478"/>
        <pc:sldMkLst>
          <pc:docMk/>
          <pc:sldMk cId="2576826660" sldId="877"/>
        </pc:sldMkLst>
        <pc:spChg chg="del">
          <ac:chgData name="Bedel, Yanick Noah" userId="c0f86fc0-9b55-4d74-958a-ff514487524f" providerId="ADAL" clId="{A8B6BF52-C66A-4405-BEE3-6EBFA5D960B0}" dt="2025-07-09T19:26:29.070" v="6" actId="478"/>
          <ac:spMkLst>
            <pc:docMk/>
            <pc:sldMk cId="2576826660" sldId="877"/>
            <ac:spMk id="31" creationId="{488A7F95-E230-C6D5-338C-EC71AB64BE3B}"/>
          </ac:spMkLst>
        </pc:spChg>
      </pc:sldChg>
      <pc:sldChg chg="delSp modSp mod">
        <pc:chgData name="Bedel, Yanick Noah" userId="c0f86fc0-9b55-4d74-958a-ff514487524f" providerId="ADAL" clId="{A8B6BF52-C66A-4405-BEE3-6EBFA5D960B0}" dt="2025-07-10T07:29:51.401" v="406" actId="20577"/>
        <pc:sldMkLst>
          <pc:docMk/>
          <pc:sldMk cId="1757975757" sldId="878"/>
        </pc:sldMkLst>
        <pc:spChg chg="mod">
          <ac:chgData name="Bedel, Yanick Noah" userId="c0f86fc0-9b55-4d74-958a-ff514487524f" providerId="ADAL" clId="{A8B6BF52-C66A-4405-BEE3-6EBFA5D960B0}" dt="2025-07-10T07:29:51.401" v="406" actId="20577"/>
          <ac:spMkLst>
            <pc:docMk/>
            <pc:sldMk cId="1757975757" sldId="878"/>
            <ac:spMk id="17" creationId="{47917CB6-881F-0B84-8006-EF9EDEEFA2B4}"/>
          </ac:spMkLst>
        </pc:spChg>
        <pc:spChg chg="del">
          <ac:chgData name="Bedel, Yanick Noah" userId="c0f86fc0-9b55-4d74-958a-ff514487524f" providerId="ADAL" clId="{A8B6BF52-C66A-4405-BEE3-6EBFA5D960B0}" dt="2025-07-09T19:26:25.965" v="5" actId="478"/>
          <ac:spMkLst>
            <pc:docMk/>
            <pc:sldMk cId="1757975757" sldId="878"/>
            <ac:spMk id="31" creationId="{944C6E85-0ED1-92FA-FEE0-F6259727D3E6}"/>
          </ac:spMkLst>
        </pc:spChg>
      </pc:sldChg>
      <pc:sldChg chg="delSp mod">
        <pc:chgData name="Bedel, Yanick Noah" userId="c0f86fc0-9b55-4d74-958a-ff514487524f" providerId="ADAL" clId="{A8B6BF52-C66A-4405-BEE3-6EBFA5D960B0}" dt="2025-07-09T19:26:22.798" v="4" actId="478"/>
        <pc:sldMkLst>
          <pc:docMk/>
          <pc:sldMk cId="1402324152" sldId="879"/>
        </pc:sldMkLst>
        <pc:spChg chg="del">
          <ac:chgData name="Bedel, Yanick Noah" userId="c0f86fc0-9b55-4d74-958a-ff514487524f" providerId="ADAL" clId="{A8B6BF52-C66A-4405-BEE3-6EBFA5D960B0}" dt="2025-07-09T19:26:22.798" v="4" actId="478"/>
          <ac:spMkLst>
            <pc:docMk/>
            <pc:sldMk cId="1402324152" sldId="879"/>
            <ac:spMk id="31" creationId="{1D8384E4-2875-CAAF-8F36-20296DB06490}"/>
          </ac:spMkLst>
        </pc:spChg>
      </pc:sldChg>
      <pc:sldChg chg="delSp mod">
        <pc:chgData name="Bedel, Yanick Noah" userId="c0f86fc0-9b55-4d74-958a-ff514487524f" providerId="ADAL" clId="{A8B6BF52-C66A-4405-BEE3-6EBFA5D960B0}" dt="2025-07-09T19:26:19.771" v="3" actId="478"/>
        <pc:sldMkLst>
          <pc:docMk/>
          <pc:sldMk cId="2790949665" sldId="880"/>
        </pc:sldMkLst>
        <pc:spChg chg="del">
          <ac:chgData name="Bedel, Yanick Noah" userId="c0f86fc0-9b55-4d74-958a-ff514487524f" providerId="ADAL" clId="{A8B6BF52-C66A-4405-BEE3-6EBFA5D960B0}" dt="2025-07-09T19:26:19.771" v="3" actId="478"/>
          <ac:spMkLst>
            <pc:docMk/>
            <pc:sldMk cId="2790949665" sldId="880"/>
            <ac:spMk id="45" creationId="{8CE43B9F-1D30-4A76-FC2C-0CD390601DBB}"/>
          </ac:spMkLst>
        </pc:spChg>
      </pc:sldChg>
      <pc:sldChg chg="addSp delSp modSp mod modAnim modNotesTx">
        <pc:chgData name="Bedel, Yanick Noah" userId="c0f86fc0-9b55-4d74-958a-ff514487524f" providerId="ADAL" clId="{A8B6BF52-C66A-4405-BEE3-6EBFA5D960B0}" dt="2025-07-10T11:32:17.191" v="2185" actId="20577"/>
        <pc:sldMkLst>
          <pc:docMk/>
          <pc:sldMk cId="1794094282" sldId="886"/>
        </pc:sldMkLst>
        <pc:spChg chg="del">
          <ac:chgData name="Bedel, Yanick Noah" userId="c0f86fc0-9b55-4d74-958a-ff514487524f" providerId="ADAL" clId="{A8B6BF52-C66A-4405-BEE3-6EBFA5D960B0}" dt="2025-07-09T19:36:54.341" v="75" actId="478"/>
          <ac:spMkLst>
            <pc:docMk/>
            <pc:sldMk cId="1794094282" sldId="886"/>
            <ac:spMk id="8" creationId="{FF2C6AD5-B86F-0951-8F16-70B8BEF1D441}"/>
          </ac:spMkLst>
        </pc:spChg>
        <pc:spChg chg="mod">
          <ac:chgData name="Bedel, Yanick Noah" userId="c0f86fc0-9b55-4d74-958a-ff514487524f" providerId="ADAL" clId="{A8B6BF52-C66A-4405-BEE3-6EBFA5D960B0}" dt="2025-07-09T19:59:21.276" v="214" actId="553"/>
          <ac:spMkLst>
            <pc:docMk/>
            <pc:sldMk cId="1794094282" sldId="886"/>
            <ac:spMk id="9" creationId="{593F702F-4E16-E0C7-2DC2-C33321E050B6}"/>
          </ac:spMkLst>
        </pc:spChg>
        <pc:spChg chg="mod">
          <ac:chgData name="Bedel, Yanick Noah" userId="c0f86fc0-9b55-4d74-958a-ff514487524f" providerId="ADAL" clId="{A8B6BF52-C66A-4405-BEE3-6EBFA5D960B0}" dt="2025-07-09T19:57:47.005" v="198" actId="1076"/>
          <ac:spMkLst>
            <pc:docMk/>
            <pc:sldMk cId="1794094282" sldId="886"/>
            <ac:spMk id="10" creationId="{07DD86AC-D00C-8910-085F-6349819B46E9}"/>
          </ac:spMkLst>
        </pc:spChg>
        <pc:spChg chg="mod">
          <ac:chgData name="Bedel, Yanick Noah" userId="c0f86fc0-9b55-4d74-958a-ff514487524f" providerId="ADAL" clId="{A8B6BF52-C66A-4405-BEE3-6EBFA5D960B0}" dt="2025-07-09T20:00:26.590" v="226" actId="20577"/>
          <ac:spMkLst>
            <pc:docMk/>
            <pc:sldMk cId="1794094282" sldId="886"/>
            <ac:spMk id="11" creationId="{019B7750-455B-A9FF-4F27-8E46E7E125DB}"/>
          </ac:spMkLst>
        </pc:spChg>
        <pc:spChg chg="del mod topLvl">
          <ac:chgData name="Bedel, Yanick Noah" userId="c0f86fc0-9b55-4d74-958a-ff514487524f" providerId="ADAL" clId="{A8B6BF52-C66A-4405-BEE3-6EBFA5D960B0}" dt="2025-07-09T19:36:04.289" v="63" actId="478"/>
          <ac:spMkLst>
            <pc:docMk/>
            <pc:sldMk cId="1794094282" sldId="886"/>
            <ac:spMk id="37" creationId="{40B8CDDE-392C-381D-66F5-5270AB22012D}"/>
          </ac:spMkLst>
        </pc:spChg>
        <pc:spChg chg="del mod topLvl">
          <ac:chgData name="Bedel, Yanick Noah" userId="c0f86fc0-9b55-4d74-958a-ff514487524f" providerId="ADAL" clId="{A8B6BF52-C66A-4405-BEE3-6EBFA5D960B0}" dt="2025-07-09T19:36:04.289" v="63" actId="478"/>
          <ac:spMkLst>
            <pc:docMk/>
            <pc:sldMk cId="1794094282" sldId="886"/>
            <ac:spMk id="38" creationId="{7C1F867B-2E02-00A3-519C-5F6B9E2E2ABB}"/>
          </ac:spMkLst>
        </pc:spChg>
        <pc:spChg chg="mod topLvl">
          <ac:chgData name="Bedel, Yanick Noah" userId="c0f86fc0-9b55-4d74-958a-ff514487524f" providerId="ADAL" clId="{A8B6BF52-C66A-4405-BEE3-6EBFA5D960B0}" dt="2025-07-09T19:35:59.324" v="62" actId="165"/>
          <ac:spMkLst>
            <pc:docMk/>
            <pc:sldMk cId="1794094282" sldId="886"/>
            <ac:spMk id="39" creationId="{677CAFDE-298F-EEE7-8242-6397EBB12D20}"/>
          </ac:spMkLst>
        </pc:spChg>
        <pc:spChg chg="del mod topLvl">
          <ac:chgData name="Bedel, Yanick Noah" userId="c0f86fc0-9b55-4d74-958a-ff514487524f" providerId="ADAL" clId="{A8B6BF52-C66A-4405-BEE3-6EBFA5D960B0}" dt="2025-07-09T19:36:30.602" v="71" actId="478"/>
          <ac:spMkLst>
            <pc:docMk/>
            <pc:sldMk cId="1794094282" sldId="886"/>
            <ac:spMk id="41" creationId="{05B1E7DF-0214-324B-4B3D-894136AFF64D}"/>
          </ac:spMkLst>
        </pc:spChg>
        <pc:spChg chg="mod topLvl">
          <ac:chgData name="Bedel, Yanick Noah" userId="c0f86fc0-9b55-4d74-958a-ff514487524f" providerId="ADAL" clId="{A8B6BF52-C66A-4405-BEE3-6EBFA5D960B0}" dt="2025-07-09T19:36:27.615" v="70" actId="165"/>
          <ac:spMkLst>
            <pc:docMk/>
            <pc:sldMk cId="1794094282" sldId="886"/>
            <ac:spMk id="42" creationId="{323C9389-A349-6A26-965F-D9A00B2751C5}"/>
          </ac:spMkLst>
        </pc:spChg>
        <pc:spChg chg="del mod topLvl">
          <ac:chgData name="Bedel, Yanick Noah" userId="c0f86fc0-9b55-4d74-958a-ff514487524f" providerId="ADAL" clId="{A8B6BF52-C66A-4405-BEE3-6EBFA5D960B0}" dt="2025-07-09T19:35:32.204" v="52" actId="478"/>
          <ac:spMkLst>
            <pc:docMk/>
            <pc:sldMk cId="1794094282" sldId="886"/>
            <ac:spMk id="44" creationId="{59B53687-2F64-1543-B1AD-49357C1C59C3}"/>
          </ac:spMkLst>
        </pc:spChg>
        <pc:spChg chg="mod topLvl">
          <ac:chgData name="Bedel, Yanick Noah" userId="c0f86fc0-9b55-4d74-958a-ff514487524f" providerId="ADAL" clId="{A8B6BF52-C66A-4405-BEE3-6EBFA5D960B0}" dt="2025-07-09T19:35:30.445" v="51" actId="165"/>
          <ac:spMkLst>
            <pc:docMk/>
            <pc:sldMk cId="1794094282" sldId="886"/>
            <ac:spMk id="45" creationId="{99C2A6E5-ED88-645A-6443-6EB17A38364C}"/>
          </ac:spMkLst>
        </pc:spChg>
        <pc:spChg chg="del mod topLvl">
          <ac:chgData name="Bedel, Yanick Noah" userId="c0f86fc0-9b55-4d74-958a-ff514487524f" providerId="ADAL" clId="{A8B6BF52-C66A-4405-BEE3-6EBFA5D960B0}" dt="2025-07-09T19:35:03.469" v="47" actId="478"/>
          <ac:spMkLst>
            <pc:docMk/>
            <pc:sldMk cId="1794094282" sldId="886"/>
            <ac:spMk id="47" creationId="{9B298FBD-957D-264A-DC30-CE25C6854032}"/>
          </ac:spMkLst>
        </pc:spChg>
        <pc:spChg chg="del">
          <ac:chgData name="Bedel, Yanick Noah" userId="c0f86fc0-9b55-4d74-958a-ff514487524f" providerId="ADAL" clId="{A8B6BF52-C66A-4405-BEE3-6EBFA5D960B0}" dt="2025-07-09T19:34:50.959" v="45" actId="478"/>
          <ac:spMkLst>
            <pc:docMk/>
            <pc:sldMk cId="1794094282" sldId="886"/>
            <ac:spMk id="48" creationId="{13D50D32-1AA1-DEAF-AEEC-B638BC879810}"/>
          </ac:spMkLst>
        </pc:spChg>
        <pc:spChg chg="mod topLvl">
          <ac:chgData name="Bedel, Yanick Noah" userId="c0f86fc0-9b55-4d74-958a-ff514487524f" providerId="ADAL" clId="{A8B6BF52-C66A-4405-BEE3-6EBFA5D960B0}" dt="2025-07-09T19:35:00.967" v="46" actId="165"/>
          <ac:spMkLst>
            <pc:docMk/>
            <pc:sldMk cId="1794094282" sldId="886"/>
            <ac:spMk id="49" creationId="{A36D31AF-7094-C6E5-EC50-F6F257AA61D0}"/>
          </ac:spMkLst>
        </pc:spChg>
        <pc:spChg chg="mod">
          <ac:chgData name="Bedel, Yanick Noah" userId="c0f86fc0-9b55-4d74-958a-ff514487524f" providerId="ADAL" clId="{A8B6BF52-C66A-4405-BEE3-6EBFA5D960B0}" dt="2025-07-09T19:58:29.178" v="199"/>
          <ac:spMkLst>
            <pc:docMk/>
            <pc:sldMk cId="1794094282" sldId="886"/>
            <ac:spMk id="55" creationId="{8303FAFD-A478-E352-DA30-5734B5A65253}"/>
          </ac:spMkLst>
        </pc:spChg>
        <pc:spChg chg="mod">
          <ac:chgData name="Bedel, Yanick Noah" userId="c0f86fc0-9b55-4d74-958a-ff514487524f" providerId="ADAL" clId="{A8B6BF52-C66A-4405-BEE3-6EBFA5D960B0}" dt="2025-07-09T19:58:29.178" v="199"/>
          <ac:spMkLst>
            <pc:docMk/>
            <pc:sldMk cId="1794094282" sldId="886"/>
            <ac:spMk id="56" creationId="{8ED1F707-BDBF-8E90-FC5B-EE349B5B3AEA}"/>
          </ac:spMkLst>
        </pc:spChg>
        <pc:spChg chg="mod">
          <ac:chgData name="Bedel, Yanick Noah" userId="c0f86fc0-9b55-4d74-958a-ff514487524f" providerId="ADAL" clId="{A8B6BF52-C66A-4405-BEE3-6EBFA5D960B0}" dt="2025-07-09T19:58:29.178" v="199"/>
          <ac:spMkLst>
            <pc:docMk/>
            <pc:sldMk cId="1794094282" sldId="886"/>
            <ac:spMk id="59" creationId="{0FDF6CFD-0539-9516-39AC-9F45D588682A}"/>
          </ac:spMkLst>
        </pc:spChg>
        <pc:spChg chg="mod">
          <ac:chgData name="Bedel, Yanick Noah" userId="c0f86fc0-9b55-4d74-958a-ff514487524f" providerId="ADAL" clId="{A8B6BF52-C66A-4405-BEE3-6EBFA5D960B0}" dt="2025-07-09T19:58:34.586" v="201"/>
          <ac:spMkLst>
            <pc:docMk/>
            <pc:sldMk cId="1794094282" sldId="886"/>
            <ac:spMk id="64" creationId="{3C5789A6-1AF1-3E61-32F7-5178457CC991}"/>
          </ac:spMkLst>
        </pc:spChg>
        <pc:spChg chg="mod">
          <ac:chgData name="Bedel, Yanick Noah" userId="c0f86fc0-9b55-4d74-958a-ff514487524f" providerId="ADAL" clId="{A8B6BF52-C66A-4405-BEE3-6EBFA5D960B0}" dt="2025-07-09T19:58:34.586" v="201"/>
          <ac:spMkLst>
            <pc:docMk/>
            <pc:sldMk cId="1794094282" sldId="886"/>
            <ac:spMk id="65" creationId="{78FAEA55-83EB-A5FC-63CF-D5C905C3C5EA}"/>
          </ac:spMkLst>
        </pc:spChg>
        <pc:spChg chg="mod">
          <ac:chgData name="Bedel, Yanick Noah" userId="c0f86fc0-9b55-4d74-958a-ff514487524f" providerId="ADAL" clId="{A8B6BF52-C66A-4405-BEE3-6EBFA5D960B0}" dt="2025-07-09T19:58:34.586" v="201"/>
          <ac:spMkLst>
            <pc:docMk/>
            <pc:sldMk cId="1794094282" sldId="886"/>
            <ac:spMk id="66" creationId="{B2CF9405-64F5-5E17-B6A4-395DC6A02584}"/>
          </ac:spMkLst>
        </pc:spChg>
        <pc:spChg chg="mod">
          <ac:chgData name="Bedel, Yanick Noah" userId="c0f86fc0-9b55-4d74-958a-ff514487524f" providerId="ADAL" clId="{A8B6BF52-C66A-4405-BEE3-6EBFA5D960B0}" dt="2025-07-09T19:58:34.756" v="202"/>
          <ac:spMkLst>
            <pc:docMk/>
            <pc:sldMk cId="1794094282" sldId="886"/>
            <ac:spMk id="71" creationId="{DE91CEE0-42D5-31D8-988D-99A4E32881BD}"/>
          </ac:spMkLst>
        </pc:spChg>
        <pc:spChg chg="mod">
          <ac:chgData name="Bedel, Yanick Noah" userId="c0f86fc0-9b55-4d74-958a-ff514487524f" providerId="ADAL" clId="{A8B6BF52-C66A-4405-BEE3-6EBFA5D960B0}" dt="2025-07-09T19:58:34.756" v="202"/>
          <ac:spMkLst>
            <pc:docMk/>
            <pc:sldMk cId="1794094282" sldId="886"/>
            <ac:spMk id="72" creationId="{91A20A37-DBED-00E7-29A6-73DA7686CB41}"/>
          </ac:spMkLst>
        </pc:spChg>
        <pc:spChg chg="mod">
          <ac:chgData name="Bedel, Yanick Noah" userId="c0f86fc0-9b55-4d74-958a-ff514487524f" providerId="ADAL" clId="{A8B6BF52-C66A-4405-BEE3-6EBFA5D960B0}" dt="2025-07-09T19:58:34.756" v="202"/>
          <ac:spMkLst>
            <pc:docMk/>
            <pc:sldMk cId="1794094282" sldId="886"/>
            <ac:spMk id="73" creationId="{C35F043D-E36B-F3A9-6D4F-9F5D3AF497D2}"/>
          </ac:spMkLst>
        </pc:spChg>
        <pc:spChg chg="mod">
          <ac:chgData name="Bedel, Yanick Noah" userId="c0f86fc0-9b55-4d74-958a-ff514487524f" providerId="ADAL" clId="{A8B6BF52-C66A-4405-BEE3-6EBFA5D960B0}" dt="2025-07-09T19:58:38.322" v="205"/>
          <ac:spMkLst>
            <pc:docMk/>
            <pc:sldMk cId="1794094282" sldId="886"/>
            <ac:spMk id="76" creationId="{2E01F047-DDD2-29F8-1E7C-98262D70C320}"/>
          </ac:spMkLst>
        </pc:spChg>
        <pc:spChg chg="mod">
          <ac:chgData name="Bedel, Yanick Noah" userId="c0f86fc0-9b55-4d74-958a-ff514487524f" providerId="ADAL" clId="{A8B6BF52-C66A-4405-BEE3-6EBFA5D960B0}" dt="2025-07-09T19:58:38.322" v="205"/>
          <ac:spMkLst>
            <pc:docMk/>
            <pc:sldMk cId="1794094282" sldId="886"/>
            <ac:spMk id="77" creationId="{CA0080D6-CB16-8F54-D021-DFBE4AABE43A}"/>
          </ac:spMkLst>
        </pc:spChg>
        <pc:spChg chg="mod">
          <ac:chgData name="Bedel, Yanick Noah" userId="c0f86fc0-9b55-4d74-958a-ff514487524f" providerId="ADAL" clId="{A8B6BF52-C66A-4405-BEE3-6EBFA5D960B0}" dt="2025-07-09T19:58:38.322" v="205"/>
          <ac:spMkLst>
            <pc:docMk/>
            <pc:sldMk cId="1794094282" sldId="886"/>
            <ac:spMk id="78" creationId="{71074FCB-66C1-73BD-8A91-6CFDB64BBB75}"/>
          </ac:spMkLst>
        </pc:spChg>
        <pc:grpChg chg="del">
          <ac:chgData name="Bedel, Yanick Noah" userId="c0f86fc0-9b55-4d74-958a-ff514487524f" providerId="ADAL" clId="{A8B6BF52-C66A-4405-BEE3-6EBFA5D960B0}" dt="2025-07-09T19:35:59.324" v="62" actId="165"/>
          <ac:grpSpMkLst>
            <pc:docMk/>
            <pc:sldMk cId="1794094282" sldId="886"/>
            <ac:grpSpMk id="36" creationId="{4609B124-8DFB-EBE0-B2FC-6F79ADD5378B}"/>
          </ac:grpSpMkLst>
        </pc:grpChg>
        <pc:grpChg chg="del">
          <ac:chgData name="Bedel, Yanick Noah" userId="c0f86fc0-9b55-4d74-958a-ff514487524f" providerId="ADAL" clId="{A8B6BF52-C66A-4405-BEE3-6EBFA5D960B0}" dt="2025-07-09T19:36:27.615" v="70" actId="165"/>
          <ac:grpSpMkLst>
            <pc:docMk/>
            <pc:sldMk cId="1794094282" sldId="886"/>
            <ac:grpSpMk id="40" creationId="{66830208-623A-2FCE-C04E-581F8CE9C75F}"/>
          </ac:grpSpMkLst>
        </pc:grpChg>
        <pc:grpChg chg="del">
          <ac:chgData name="Bedel, Yanick Noah" userId="c0f86fc0-9b55-4d74-958a-ff514487524f" providerId="ADAL" clId="{A8B6BF52-C66A-4405-BEE3-6EBFA5D960B0}" dt="2025-07-09T19:35:30.445" v="51" actId="165"/>
          <ac:grpSpMkLst>
            <pc:docMk/>
            <pc:sldMk cId="1794094282" sldId="886"/>
            <ac:grpSpMk id="43" creationId="{82ECF822-20DF-4CCB-F167-6AAD28BFCE4C}"/>
          </ac:grpSpMkLst>
        </pc:grpChg>
        <pc:grpChg chg="del">
          <ac:chgData name="Bedel, Yanick Noah" userId="c0f86fc0-9b55-4d74-958a-ff514487524f" providerId="ADAL" clId="{A8B6BF52-C66A-4405-BEE3-6EBFA5D960B0}" dt="2025-07-09T19:35:00.967" v="46" actId="165"/>
          <ac:grpSpMkLst>
            <pc:docMk/>
            <pc:sldMk cId="1794094282" sldId="886"/>
            <ac:grpSpMk id="46" creationId="{F6F27063-3E49-736C-4492-C282320C10C6}"/>
          </ac:grpSpMkLst>
        </pc:grpChg>
        <pc:grpChg chg="add mod">
          <ac:chgData name="Bedel, Yanick Noah" userId="c0f86fc0-9b55-4d74-958a-ff514487524f" providerId="ADAL" clId="{A8B6BF52-C66A-4405-BEE3-6EBFA5D960B0}" dt="2025-07-09T19:59:07.053" v="210" actId="554"/>
          <ac:grpSpMkLst>
            <pc:docMk/>
            <pc:sldMk cId="1794094282" sldId="886"/>
            <ac:grpSpMk id="54" creationId="{677EB753-2DE6-D753-17E5-3C3B5F36063F}"/>
          </ac:grpSpMkLst>
        </pc:grpChg>
        <pc:grpChg chg="add mod">
          <ac:chgData name="Bedel, Yanick Noah" userId="c0f86fc0-9b55-4d74-958a-ff514487524f" providerId="ADAL" clId="{A8B6BF52-C66A-4405-BEE3-6EBFA5D960B0}" dt="2025-07-09T19:59:13.428" v="212" actId="555"/>
          <ac:grpSpMkLst>
            <pc:docMk/>
            <pc:sldMk cId="1794094282" sldId="886"/>
            <ac:grpSpMk id="61" creationId="{DF099CD0-878E-182B-32C6-7FA86671723D}"/>
          </ac:grpSpMkLst>
        </pc:grpChg>
        <pc:grpChg chg="add mod">
          <ac:chgData name="Bedel, Yanick Noah" userId="c0f86fc0-9b55-4d74-958a-ff514487524f" providerId="ADAL" clId="{A8B6BF52-C66A-4405-BEE3-6EBFA5D960B0}" dt="2025-07-09T19:59:30.591" v="216" actId="555"/>
          <ac:grpSpMkLst>
            <pc:docMk/>
            <pc:sldMk cId="1794094282" sldId="886"/>
            <ac:grpSpMk id="70" creationId="{53799F96-9D1B-916A-B19D-E149665390E4}"/>
          </ac:grpSpMkLst>
        </pc:grpChg>
        <pc:grpChg chg="add mod">
          <ac:chgData name="Bedel, Yanick Noah" userId="c0f86fc0-9b55-4d74-958a-ff514487524f" providerId="ADAL" clId="{A8B6BF52-C66A-4405-BEE3-6EBFA5D960B0}" dt="2025-07-09T19:58:50.707" v="208" actId="555"/>
          <ac:grpSpMkLst>
            <pc:docMk/>
            <pc:sldMk cId="1794094282" sldId="886"/>
            <ac:grpSpMk id="75" creationId="{7BF4540B-2058-F851-9DE4-D56E48719018}"/>
          </ac:grpSpMkLst>
        </pc:grpChg>
        <pc:picChg chg="add mod">
          <ac:chgData name="Bedel, Yanick Noah" userId="c0f86fc0-9b55-4d74-958a-ff514487524f" providerId="ADAL" clId="{A8B6BF52-C66A-4405-BEE3-6EBFA5D960B0}" dt="2025-07-09T19:36:15.173" v="68" actId="1076"/>
          <ac:picMkLst>
            <pc:docMk/>
            <pc:sldMk cId="1794094282" sldId="886"/>
            <ac:picMk id="17" creationId="{C617F69B-FD8F-6F35-099E-0472A87D89DD}"/>
          </ac:picMkLst>
        </pc:picChg>
        <pc:picChg chg="mod">
          <ac:chgData name="Bedel, Yanick Noah" userId="c0f86fc0-9b55-4d74-958a-ff514487524f" providerId="ADAL" clId="{A8B6BF52-C66A-4405-BEE3-6EBFA5D960B0}" dt="2025-07-09T19:59:07.053" v="210" actId="554"/>
          <ac:picMkLst>
            <pc:docMk/>
            <pc:sldMk cId="1794094282" sldId="886"/>
            <ac:picMk id="21" creationId="{8188BC71-03C9-9B60-01C6-8D23EED4E2F2}"/>
          </ac:picMkLst>
        </pc:picChg>
        <pc:picChg chg="add mod">
          <ac:chgData name="Bedel, Yanick Noah" userId="c0f86fc0-9b55-4d74-958a-ff514487524f" providerId="ADAL" clId="{A8B6BF52-C66A-4405-BEE3-6EBFA5D960B0}" dt="2025-07-09T19:35:49.425" v="61" actId="1035"/>
          <ac:picMkLst>
            <pc:docMk/>
            <pc:sldMk cId="1794094282" sldId="886"/>
            <ac:picMk id="22" creationId="{FBB3AD11-56B6-6CED-7BE7-A63B1F019136}"/>
          </ac:picMkLst>
        </pc:picChg>
        <pc:picChg chg="add del mod">
          <ac:chgData name="Bedel, Yanick Noah" userId="c0f86fc0-9b55-4d74-958a-ff514487524f" providerId="ADAL" clId="{A8B6BF52-C66A-4405-BEE3-6EBFA5D960B0}" dt="2025-07-09T19:33:27.557" v="38" actId="478"/>
          <ac:picMkLst>
            <pc:docMk/>
            <pc:sldMk cId="1794094282" sldId="886"/>
            <ac:picMk id="24" creationId="{A5134EFF-5851-1E7F-9FA9-91B02D19935C}"/>
          </ac:picMkLst>
        </pc:picChg>
        <pc:picChg chg="add mod">
          <ac:chgData name="Bedel, Yanick Noah" userId="c0f86fc0-9b55-4d74-958a-ff514487524f" providerId="ADAL" clId="{A8B6BF52-C66A-4405-BEE3-6EBFA5D960B0}" dt="2025-07-09T19:36:39.491" v="74" actId="1076"/>
          <ac:picMkLst>
            <pc:docMk/>
            <pc:sldMk cId="1794094282" sldId="886"/>
            <ac:picMk id="51" creationId="{A0CDA2BB-6EB8-8634-E356-024624919646}"/>
          </ac:picMkLst>
        </pc:picChg>
        <pc:picChg chg="add mod">
          <ac:chgData name="Bedel, Yanick Noah" userId="c0f86fc0-9b55-4d74-958a-ff514487524f" providerId="ADAL" clId="{A8B6BF52-C66A-4405-BEE3-6EBFA5D960B0}" dt="2025-07-09T19:35:14.857" v="50" actId="1076"/>
          <ac:picMkLst>
            <pc:docMk/>
            <pc:sldMk cId="1794094282" sldId="886"/>
            <ac:picMk id="53" creationId="{81CA59C8-82D5-C1A7-D21A-E4B16E2CF150}"/>
          </ac:picMkLst>
        </pc:picChg>
        <pc:picChg chg="mod">
          <ac:chgData name="Bedel, Yanick Noah" userId="c0f86fc0-9b55-4d74-958a-ff514487524f" providerId="ADAL" clId="{A8B6BF52-C66A-4405-BEE3-6EBFA5D960B0}" dt="2025-07-09T19:58:50.707" v="208" actId="555"/>
          <ac:picMkLst>
            <pc:docMk/>
            <pc:sldMk cId="1794094282" sldId="886"/>
            <ac:picMk id="58" creationId="{7713DD80-33BE-A3ED-4A62-2EA72A588E4C}"/>
          </ac:picMkLst>
        </pc:picChg>
        <pc:picChg chg="mod">
          <ac:chgData name="Bedel, Yanick Noah" userId="c0f86fc0-9b55-4d74-958a-ff514487524f" providerId="ADAL" clId="{A8B6BF52-C66A-4405-BEE3-6EBFA5D960B0}" dt="2025-07-09T19:58:29.178" v="199"/>
          <ac:picMkLst>
            <pc:docMk/>
            <pc:sldMk cId="1794094282" sldId="886"/>
            <ac:picMk id="60" creationId="{AC6A8401-549A-0116-03E1-C7FF2375E9EB}"/>
          </ac:picMkLst>
        </pc:picChg>
        <pc:picChg chg="mod">
          <ac:chgData name="Bedel, Yanick Noah" userId="c0f86fc0-9b55-4d74-958a-ff514487524f" providerId="ADAL" clId="{A8B6BF52-C66A-4405-BEE3-6EBFA5D960B0}" dt="2025-07-09T19:59:13.428" v="212" actId="555"/>
          <ac:picMkLst>
            <pc:docMk/>
            <pc:sldMk cId="1794094282" sldId="886"/>
            <ac:picMk id="63" creationId="{DD50E2D5-D6A3-2B6B-AD89-533B929DAA2C}"/>
          </ac:picMkLst>
        </pc:picChg>
        <pc:picChg chg="mod">
          <ac:chgData name="Bedel, Yanick Noah" userId="c0f86fc0-9b55-4d74-958a-ff514487524f" providerId="ADAL" clId="{A8B6BF52-C66A-4405-BEE3-6EBFA5D960B0}" dt="2025-07-09T19:59:30.591" v="216" actId="555"/>
          <ac:picMkLst>
            <pc:docMk/>
            <pc:sldMk cId="1794094282" sldId="886"/>
            <ac:picMk id="68" creationId="{BBD65AA7-9187-E6E9-D3E5-ECF5B709D289}"/>
          </ac:picMkLst>
        </pc:picChg>
        <pc:picChg chg="mod">
          <ac:chgData name="Bedel, Yanick Noah" userId="c0f86fc0-9b55-4d74-958a-ff514487524f" providerId="ADAL" clId="{A8B6BF52-C66A-4405-BEE3-6EBFA5D960B0}" dt="2025-07-09T19:58:34.586" v="201"/>
          <ac:picMkLst>
            <pc:docMk/>
            <pc:sldMk cId="1794094282" sldId="886"/>
            <ac:picMk id="69" creationId="{94D507D3-EDF8-65DD-5C09-200DF7B9F18C}"/>
          </ac:picMkLst>
        </pc:picChg>
        <pc:picChg chg="mod">
          <ac:chgData name="Bedel, Yanick Noah" userId="c0f86fc0-9b55-4d74-958a-ff514487524f" providerId="ADAL" clId="{A8B6BF52-C66A-4405-BEE3-6EBFA5D960B0}" dt="2025-07-09T19:58:34.756" v="202"/>
          <ac:picMkLst>
            <pc:docMk/>
            <pc:sldMk cId="1794094282" sldId="886"/>
            <ac:picMk id="74" creationId="{1C04F955-E686-60D2-E8DB-9922D63CA034}"/>
          </ac:picMkLst>
        </pc:picChg>
        <pc:picChg chg="mod">
          <ac:chgData name="Bedel, Yanick Noah" userId="c0f86fc0-9b55-4d74-958a-ff514487524f" providerId="ADAL" clId="{A8B6BF52-C66A-4405-BEE3-6EBFA5D960B0}" dt="2025-07-09T19:58:38.322" v="205"/>
          <ac:picMkLst>
            <pc:docMk/>
            <pc:sldMk cId="1794094282" sldId="886"/>
            <ac:picMk id="79" creationId="{74D07205-3BBD-C940-7B3A-0FA74AF65FA8}"/>
          </ac:picMkLst>
        </pc:picChg>
      </pc:sldChg>
      <pc:sldChg chg="modAnim modNotesTx">
        <pc:chgData name="Bedel, Yanick Noah" userId="c0f86fc0-9b55-4d74-958a-ff514487524f" providerId="ADAL" clId="{A8B6BF52-C66A-4405-BEE3-6EBFA5D960B0}" dt="2025-07-10T08:56:05.337" v="1646" actId="20577"/>
        <pc:sldMkLst>
          <pc:docMk/>
          <pc:sldMk cId="3823556651" sldId="887"/>
        </pc:sldMkLst>
      </pc:sldChg>
      <pc:sldChg chg="delSp mod">
        <pc:chgData name="Bedel, Yanick Noah" userId="c0f86fc0-9b55-4d74-958a-ff514487524f" providerId="ADAL" clId="{A8B6BF52-C66A-4405-BEE3-6EBFA5D960B0}" dt="2025-07-09T19:26:38.129" v="9" actId="478"/>
        <pc:sldMkLst>
          <pc:docMk/>
          <pc:sldMk cId="2834901102" sldId="894"/>
        </pc:sldMkLst>
        <pc:spChg chg="del">
          <ac:chgData name="Bedel, Yanick Noah" userId="c0f86fc0-9b55-4d74-958a-ff514487524f" providerId="ADAL" clId="{A8B6BF52-C66A-4405-BEE3-6EBFA5D960B0}" dt="2025-07-09T19:26:38.129" v="9" actId="478"/>
          <ac:spMkLst>
            <pc:docMk/>
            <pc:sldMk cId="2834901102" sldId="894"/>
            <ac:spMk id="2" creationId="{70D2BB1A-3F01-BD81-EC16-1FA653373005}"/>
          </ac:spMkLst>
        </pc:spChg>
      </pc:sldChg>
      <pc:sldChg chg="addSp modSp modAnim modNotesTx">
        <pc:chgData name="Bedel, Yanick Noah" userId="c0f86fc0-9b55-4d74-958a-ff514487524f" providerId="ADAL" clId="{A8B6BF52-C66A-4405-BEE3-6EBFA5D960B0}" dt="2025-07-10T08:51:33.899" v="968" actId="20577"/>
        <pc:sldMkLst>
          <pc:docMk/>
          <pc:sldMk cId="3413914380" sldId="895"/>
        </pc:sldMkLst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1" creationId="{2488DFAB-C3F6-974A-4399-1BC16BDE83AA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2" creationId="{87EB7EE9-FDA0-BE49-7DC5-AD749EDC9806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3" creationId="{29D65528-AAD0-EA52-DD19-A99751B4818E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4" creationId="{E7630FD8-E06D-79BC-C3AF-E99AF9374F56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5" creationId="{D51D6F24-4B66-D845-658C-C5B416C691FB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6" creationId="{AA6E21C3-6A2B-7A06-3D47-9FFAC97F9DCF}"/>
          </ac:spMkLst>
        </pc:spChg>
        <pc:spChg chg="mod">
          <ac:chgData name="Bedel, Yanick Noah" userId="c0f86fc0-9b55-4d74-958a-ff514487524f" providerId="ADAL" clId="{A8B6BF52-C66A-4405-BEE3-6EBFA5D960B0}" dt="2025-07-09T19:52:45.046" v="154" actId="164"/>
          <ac:spMkLst>
            <pc:docMk/>
            <pc:sldMk cId="3413914380" sldId="895"/>
            <ac:spMk id="37" creationId="{89AAE35F-018C-85E8-A876-38B7A86C4432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38" creationId="{75BBC72A-0336-7F54-9DC4-E9E211397C24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39" creationId="{C1A9F135-5ECC-1838-71E2-0ECE25F1B94B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40" creationId="{35EB4AE1-E01A-9D32-6D95-C3E9651CBC76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41" creationId="{A68C4F83-31CA-BB73-35E8-A34FCCCF050A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44" creationId="{BD63B806-1F42-AFF9-6703-1E59C1FD8C26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45" creationId="{90B2662E-058A-0252-BB98-DAD9011CC835}"/>
          </ac:spMkLst>
        </pc:spChg>
        <pc:spChg chg="mod">
          <ac:chgData name="Bedel, Yanick Noah" userId="c0f86fc0-9b55-4d74-958a-ff514487524f" providerId="ADAL" clId="{A8B6BF52-C66A-4405-BEE3-6EBFA5D960B0}" dt="2025-07-09T19:52:57.360" v="155" actId="164"/>
          <ac:spMkLst>
            <pc:docMk/>
            <pc:sldMk cId="3413914380" sldId="895"/>
            <ac:spMk id="46" creationId="{F378D2AF-DED0-8618-7D64-6CC341727AD8}"/>
          </ac:spMkLst>
        </pc:spChg>
        <pc:grpChg chg="add mod">
          <ac:chgData name="Bedel, Yanick Noah" userId="c0f86fc0-9b55-4d74-958a-ff514487524f" providerId="ADAL" clId="{A8B6BF52-C66A-4405-BEE3-6EBFA5D960B0}" dt="2025-07-09T19:52:45.046" v="154" actId="164"/>
          <ac:grpSpMkLst>
            <pc:docMk/>
            <pc:sldMk cId="3413914380" sldId="895"/>
            <ac:grpSpMk id="19" creationId="{3E929AB7-09A8-5DB9-0C46-FB8D2F9DCA67}"/>
          </ac:grpSpMkLst>
        </pc:grpChg>
        <pc:grpChg chg="add mod">
          <ac:chgData name="Bedel, Yanick Noah" userId="c0f86fc0-9b55-4d74-958a-ff514487524f" providerId="ADAL" clId="{A8B6BF52-C66A-4405-BEE3-6EBFA5D960B0}" dt="2025-07-09T19:52:57.360" v="155" actId="164"/>
          <ac:grpSpMkLst>
            <pc:docMk/>
            <pc:sldMk cId="3413914380" sldId="895"/>
            <ac:grpSpMk id="20" creationId="{D7BBD0CA-4202-3DCB-D5E2-9DAE78C00109}"/>
          </ac:grpSpMkLst>
        </pc:grpChg>
        <pc:cxnChg chg="mod">
          <ac:chgData name="Bedel, Yanick Noah" userId="c0f86fc0-9b55-4d74-958a-ff514487524f" providerId="ADAL" clId="{A8B6BF52-C66A-4405-BEE3-6EBFA5D960B0}" dt="2025-07-09T19:52:45.046" v="154" actId="164"/>
          <ac:cxnSpMkLst>
            <pc:docMk/>
            <pc:sldMk cId="3413914380" sldId="895"/>
            <ac:cxnSpMk id="42" creationId="{6E7FCDD6-A32B-3AEF-D3A1-02783EA3A251}"/>
          </ac:cxnSpMkLst>
        </pc:cxnChg>
        <pc:cxnChg chg="mod">
          <ac:chgData name="Bedel, Yanick Noah" userId="c0f86fc0-9b55-4d74-958a-ff514487524f" providerId="ADAL" clId="{A8B6BF52-C66A-4405-BEE3-6EBFA5D960B0}" dt="2025-07-09T19:52:57.360" v="155" actId="164"/>
          <ac:cxnSpMkLst>
            <pc:docMk/>
            <pc:sldMk cId="3413914380" sldId="895"/>
            <ac:cxnSpMk id="43" creationId="{99486BC2-B03E-FC7C-5DD5-387192391282}"/>
          </ac:cxnSpMkLst>
        </pc:cxnChg>
      </pc:sldChg>
    </pc:docChg>
  </pc:docChgLst>
  <pc:docChgLst>
    <pc:chgData name="Bedel, Yanick Noah" userId="c0f86fc0-9b55-4d74-958a-ff514487524f" providerId="ADAL" clId="{5DCB94AE-F125-4388-AAC2-90396541D5B7}"/>
    <pc:docChg chg="undo redo custSel addSld delSld modSld sldOrd delMainMaster modMainMaster addSection delSection modSection">
      <pc:chgData name="Bedel, Yanick Noah" userId="c0f86fc0-9b55-4d74-958a-ff514487524f" providerId="ADAL" clId="{5DCB94AE-F125-4388-AAC2-90396541D5B7}" dt="2025-07-09T16:32:53.069" v="12690" actId="47"/>
      <pc:docMkLst>
        <pc:docMk/>
      </pc:docMkLst>
      <pc:sldChg chg="add del">
        <pc:chgData name="Bedel, Yanick Noah" userId="c0f86fc0-9b55-4d74-958a-ff514487524f" providerId="ADAL" clId="{5DCB94AE-F125-4388-AAC2-90396541D5B7}" dt="2025-07-09T08:06:20.025" v="5700" actId="47"/>
        <pc:sldMkLst>
          <pc:docMk/>
          <pc:sldMk cId="550918929" sldId="608"/>
        </pc:sldMkLst>
      </pc:sldChg>
      <pc:sldChg chg="modSp mod ord">
        <pc:chgData name="Bedel, Yanick Noah" userId="c0f86fc0-9b55-4d74-958a-ff514487524f" providerId="ADAL" clId="{5DCB94AE-F125-4388-AAC2-90396541D5B7}" dt="2025-07-09T08:22:53.172" v="6034"/>
        <pc:sldMkLst>
          <pc:docMk/>
          <pc:sldMk cId="224690573" sldId="616"/>
        </pc:sldMkLst>
        <pc:spChg chg="mod">
          <ac:chgData name="Bedel, Yanick Noah" userId="c0f86fc0-9b55-4d74-958a-ff514487524f" providerId="ADAL" clId="{5DCB94AE-F125-4388-AAC2-90396541D5B7}" dt="2025-07-08T22:26:52.356" v="4894" actId="20577"/>
          <ac:spMkLst>
            <pc:docMk/>
            <pc:sldMk cId="224690573" sldId="616"/>
            <ac:spMk id="10" creationId="{A15CAEDB-780C-484C-8F6B-3550289EAD0E}"/>
          </ac:spMkLst>
        </pc:spChg>
      </pc:sldChg>
      <pc:sldChg chg="delSp add del mod">
        <pc:chgData name="Bedel, Yanick Noah" userId="c0f86fc0-9b55-4d74-958a-ff514487524f" providerId="ADAL" clId="{5DCB94AE-F125-4388-AAC2-90396541D5B7}" dt="2025-07-08T20:30:56.175" v="1792" actId="47"/>
        <pc:sldMkLst>
          <pc:docMk/>
          <pc:sldMk cId="2106034074" sldId="619"/>
        </pc:sldMkLst>
      </pc:sldChg>
      <pc:sldChg chg="add del ord">
        <pc:chgData name="Bedel, Yanick Noah" userId="c0f86fc0-9b55-4d74-958a-ff514487524f" providerId="ADAL" clId="{5DCB94AE-F125-4388-AAC2-90396541D5B7}" dt="2025-07-09T07:59:48.263" v="5512" actId="47"/>
        <pc:sldMkLst>
          <pc:docMk/>
          <pc:sldMk cId="311986854" sldId="645"/>
        </pc:sldMkLst>
      </pc:sldChg>
      <pc:sldChg chg="add del">
        <pc:chgData name="Bedel, Yanick Noah" userId="c0f86fc0-9b55-4d74-958a-ff514487524f" providerId="ADAL" clId="{5DCB94AE-F125-4388-AAC2-90396541D5B7}" dt="2025-07-09T08:13:55.207" v="5943" actId="47"/>
        <pc:sldMkLst>
          <pc:docMk/>
          <pc:sldMk cId="4256623586" sldId="653"/>
        </pc:sldMkLst>
      </pc:sldChg>
      <pc:sldChg chg="add del">
        <pc:chgData name="Bedel, Yanick Noah" userId="c0f86fc0-9b55-4d74-958a-ff514487524f" providerId="ADAL" clId="{5DCB94AE-F125-4388-AAC2-90396541D5B7}" dt="2025-07-09T08:06:18.592" v="5699" actId="47"/>
        <pc:sldMkLst>
          <pc:docMk/>
          <pc:sldMk cId="953197028" sldId="659"/>
        </pc:sldMkLst>
      </pc:sldChg>
      <pc:sldChg chg="add del">
        <pc:chgData name="Bedel, Yanick Noah" userId="c0f86fc0-9b55-4d74-958a-ff514487524f" providerId="ADAL" clId="{5DCB94AE-F125-4388-AAC2-90396541D5B7}" dt="2025-07-09T07:19:22.631" v="4922" actId="47"/>
        <pc:sldMkLst>
          <pc:docMk/>
          <pc:sldMk cId="2482901145" sldId="661"/>
        </pc:sldMkLst>
      </pc:sldChg>
      <pc:sldChg chg="modSp add del mod">
        <pc:chgData name="Bedel, Yanick Noah" userId="c0f86fc0-9b55-4d74-958a-ff514487524f" providerId="ADAL" clId="{5DCB94AE-F125-4388-AAC2-90396541D5B7}" dt="2025-07-09T07:57:24.746" v="5440" actId="47"/>
        <pc:sldMkLst>
          <pc:docMk/>
          <pc:sldMk cId="1644725732" sldId="665"/>
        </pc:sldMkLst>
        <pc:spChg chg="mod">
          <ac:chgData name="Bedel, Yanick Noah" userId="c0f86fc0-9b55-4d74-958a-ff514487524f" providerId="ADAL" clId="{5DCB94AE-F125-4388-AAC2-90396541D5B7}" dt="2025-07-09T07:22:48.380" v="4926" actId="14100"/>
          <ac:spMkLst>
            <pc:docMk/>
            <pc:sldMk cId="1644725732" sldId="665"/>
            <ac:spMk id="79" creationId="{9B3B8F85-BCAF-7D42-9DE0-8F3D82B423C8}"/>
          </ac:spMkLst>
        </pc:spChg>
        <pc:spChg chg="mod">
          <ac:chgData name="Bedel, Yanick Noah" userId="c0f86fc0-9b55-4d74-958a-ff514487524f" providerId="ADAL" clId="{5DCB94AE-F125-4388-AAC2-90396541D5B7}" dt="2025-07-09T07:22:48.380" v="4926" actId="14100"/>
          <ac:spMkLst>
            <pc:docMk/>
            <pc:sldMk cId="1644725732" sldId="665"/>
            <ac:spMk id="80" creationId="{C39620D6-083D-2142-B01E-E5B945702331}"/>
          </ac:spMkLst>
        </pc:spChg>
      </pc:sldChg>
      <pc:sldChg chg="add del">
        <pc:chgData name="Bedel, Yanick Noah" userId="c0f86fc0-9b55-4d74-958a-ff514487524f" providerId="ADAL" clId="{5DCB94AE-F125-4388-AAC2-90396541D5B7}" dt="2025-07-09T08:13:53.340" v="5942" actId="47"/>
        <pc:sldMkLst>
          <pc:docMk/>
          <pc:sldMk cId="1039055622" sldId="697"/>
        </pc:sldMkLst>
      </pc:sldChg>
      <pc:sldChg chg="add del ord">
        <pc:chgData name="Bedel, Yanick Noah" userId="c0f86fc0-9b55-4d74-958a-ff514487524f" providerId="ADAL" clId="{5DCB94AE-F125-4388-AAC2-90396541D5B7}" dt="2025-07-09T12:03:59.452" v="7531" actId="47"/>
        <pc:sldMkLst>
          <pc:docMk/>
          <pc:sldMk cId="2704049841" sldId="835"/>
        </pc:sldMkLst>
      </pc:sldChg>
      <pc:sldChg chg="add del">
        <pc:chgData name="Bedel, Yanick Noah" userId="c0f86fc0-9b55-4d74-958a-ff514487524f" providerId="ADAL" clId="{5DCB94AE-F125-4388-AAC2-90396541D5B7}" dt="2025-07-09T08:24:07.496" v="6123" actId="47"/>
        <pc:sldMkLst>
          <pc:docMk/>
          <pc:sldMk cId="2692542087" sldId="842"/>
        </pc:sldMkLst>
      </pc:sldChg>
      <pc:sldChg chg="del">
        <pc:chgData name="Bedel, Yanick Noah" userId="c0f86fc0-9b55-4d74-958a-ff514487524f" providerId="ADAL" clId="{5DCB94AE-F125-4388-AAC2-90396541D5B7}" dt="2025-07-09T08:23:57.691" v="6117" actId="47"/>
        <pc:sldMkLst>
          <pc:docMk/>
          <pc:sldMk cId="1104288681" sldId="845"/>
        </pc:sldMkLst>
      </pc:sldChg>
      <pc:sldChg chg="del ord">
        <pc:chgData name="Bedel, Yanick Noah" userId="c0f86fc0-9b55-4d74-958a-ff514487524f" providerId="ADAL" clId="{5DCB94AE-F125-4388-AAC2-90396541D5B7}" dt="2025-07-09T08:23:46.064" v="6115" actId="47"/>
        <pc:sldMkLst>
          <pc:docMk/>
          <pc:sldMk cId="933151716" sldId="846"/>
        </pc:sldMkLst>
      </pc:sldChg>
      <pc:sldChg chg="del ord">
        <pc:chgData name="Bedel, Yanick Noah" userId="c0f86fc0-9b55-4d74-958a-ff514487524f" providerId="ADAL" clId="{5DCB94AE-F125-4388-AAC2-90396541D5B7}" dt="2025-07-09T08:23:43.641" v="6114" actId="47"/>
        <pc:sldMkLst>
          <pc:docMk/>
          <pc:sldMk cId="3468982406" sldId="847"/>
        </pc:sldMkLst>
      </pc:sldChg>
      <pc:sldChg chg="del">
        <pc:chgData name="Bedel, Yanick Noah" userId="c0f86fc0-9b55-4d74-958a-ff514487524f" providerId="ADAL" clId="{5DCB94AE-F125-4388-AAC2-90396541D5B7}" dt="2025-07-09T08:23:58.572" v="6118" actId="47"/>
        <pc:sldMkLst>
          <pc:docMk/>
          <pc:sldMk cId="4270613589" sldId="849"/>
        </pc:sldMkLst>
      </pc:sldChg>
      <pc:sldChg chg="add del">
        <pc:chgData name="Bedel, Yanick Noah" userId="c0f86fc0-9b55-4d74-958a-ff514487524f" providerId="ADAL" clId="{5DCB94AE-F125-4388-AAC2-90396541D5B7}" dt="2025-07-09T08:24:08.278" v="6124" actId="47"/>
        <pc:sldMkLst>
          <pc:docMk/>
          <pc:sldMk cId="3433168944" sldId="850"/>
        </pc:sldMkLst>
      </pc:sldChg>
      <pc:sldChg chg="del ord">
        <pc:chgData name="Bedel, Yanick Noah" userId="c0f86fc0-9b55-4d74-958a-ff514487524f" providerId="ADAL" clId="{5DCB94AE-F125-4388-AAC2-90396541D5B7}" dt="2025-07-09T12:04:00.274" v="7532" actId="47"/>
        <pc:sldMkLst>
          <pc:docMk/>
          <pc:sldMk cId="590187059" sldId="851"/>
        </pc:sldMkLst>
      </pc:sldChg>
      <pc:sldChg chg="del">
        <pc:chgData name="Bedel, Yanick Noah" userId="c0f86fc0-9b55-4d74-958a-ff514487524f" providerId="ADAL" clId="{5DCB94AE-F125-4388-AAC2-90396541D5B7}" dt="2025-07-09T08:24:31.954" v="6126" actId="47"/>
        <pc:sldMkLst>
          <pc:docMk/>
          <pc:sldMk cId="1242751092" sldId="852"/>
        </pc:sldMkLst>
      </pc:sldChg>
      <pc:sldChg chg="del ord">
        <pc:chgData name="Bedel, Yanick Noah" userId="c0f86fc0-9b55-4d74-958a-ff514487524f" providerId="ADAL" clId="{5DCB94AE-F125-4388-AAC2-90396541D5B7}" dt="2025-07-08T22:27:14.728" v="4898" actId="47"/>
        <pc:sldMkLst>
          <pc:docMk/>
          <pc:sldMk cId="1475770056" sldId="854"/>
        </pc:sldMkLst>
      </pc:sldChg>
      <pc:sldChg chg="addSp delSp modSp add del mod ord delAnim">
        <pc:chgData name="Bedel, Yanick Noah" userId="c0f86fc0-9b55-4d74-958a-ff514487524f" providerId="ADAL" clId="{5DCB94AE-F125-4388-AAC2-90396541D5B7}" dt="2025-07-09T12:08:08.188" v="7547" actId="47"/>
        <pc:sldMkLst>
          <pc:docMk/>
          <pc:sldMk cId="3884923112" sldId="855"/>
        </pc:sldMkLst>
        <pc:spChg chg="add mod">
          <ac:chgData name="Bedel, Yanick Noah" userId="c0f86fc0-9b55-4d74-958a-ff514487524f" providerId="ADAL" clId="{5DCB94AE-F125-4388-AAC2-90396541D5B7}" dt="2025-07-09T08:34:55.565" v="7123" actId="20577"/>
          <ac:spMkLst>
            <pc:docMk/>
            <pc:sldMk cId="3884923112" sldId="855"/>
            <ac:spMk id="3" creationId="{5ED54705-0506-A6CF-7B64-8F540CA02A44}"/>
          </ac:spMkLst>
        </pc:spChg>
        <pc:spChg chg="mod">
          <ac:chgData name="Bedel, Yanick Noah" userId="c0f86fc0-9b55-4d74-958a-ff514487524f" providerId="ADAL" clId="{5DCB94AE-F125-4388-AAC2-90396541D5B7}" dt="2025-07-09T07:58:24.452" v="5448" actId="20577"/>
          <ac:spMkLst>
            <pc:docMk/>
            <pc:sldMk cId="3884923112" sldId="855"/>
            <ac:spMk id="6" creationId="{E9AED47E-A568-611E-10FB-E61351052890}"/>
          </ac:spMkLst>
        </pc:spChg>
      </pc:sldChg>
      <pc:sldChg chg="modSp add del mod">
        <pc:chgData name="Bedel, Yanick Noah" userId="c0f86fc0-9b55-4d74-958a-ff514487524f" providerId="ADAL" clId="{5DCB94AE-F125-4388-AAC2-90396541D5B7}" dt="2025-07-08T12:36:03.091" v="126" actId="2890"/>
        <pc:sldMkLst>
          <pc:docMk/>
          <pc:sldMk cId="1459453190" sldId="856"/>
        </pc:sldMkLst>
      </pc:sldChg>
      <pc:sldChg chg="add del">
        <pc:chgData name="Bedel, Yanick Noah" userId="c0f86fc0-9b55-4d74-958a-ff514487524f" providerId="ADAL" clId="{5DCB94AE-F125-4388-AAC2-90396541D5B7}" dt="2025-07-08T12:36:52.798" v="138" actId="47"/>
        <pc:sldMkLst>
          <pc:docMk/>
          <pc:sldMk cId="2722416697" sldId="856"/>
        </pc:sldMkLst>
      </pc:sldChg>
      <pc:sldChg chg="add del">
        <pc:chgData name="Bedel, Yanick Noah" userId="c0f86fc0-9b55-4d74-958a-ff514487524f" providerId="ADAL" clId="{5DCB94AE-F125-4388-AAC2-90396541D5B7}" dt="2025-07-08T12:36:52.798" v="138" actId="47"/>
        <pc:sldMkLst>
          <pc:docMk/>
          <pc:sldMk cId="1413004466" sldId="857"/>
        </pc:sldMkLst>
      </pc:sldChg>
      <pc:sldChg chg="addSp delSp modSp add del mod ord modAnim">
        <pc:chgData name="Bedel, Yanick Noah" userId="c0f86fc0-9b55-4d74-958a-ff514487524f" providerId="ADAL" clId="{5DCB94AE-F125-4388-AAC2-90396541D5B7}" dt="2025-07-09T12:03:57.465" v="7530"/>
        <pc:sldMkLst>
          <pc:docMk/>
          <pc:sldMk cId="2462796863" sldId="858"/>
        </pc:sldMkLst>
        <pc:spChg chg="mod">
          <ac:chgData name="Bedel, Yanick Noah" userId="c0f86fc0-9b55-4d74-958a-ff514487524f" providerId="ADAL" clId="{5DCB94AE-F125-4388-AAC2-90396541D5B7}" dt="2025-07-08T15:07:04.373" v="1006"/>
          <ac:spMkLst>
            <pc:docMk/>
            <pc:sldMk cId="2462796863" sldId="858"/>
            <ac:spMk id="2" creationId="{F0B017E9-F0D1-CF5F-45A0-363E5916D8F3}"/>
          </ac:spMkLst>
        </pc:spChg>
        <pc:spChg chg="add del mod">
          <ac:chgData name="Bedel, Yanick Noah" userId="c0f86fc0-9b55-4d74-958a-ff514487524f" providerId="ADAL" clId="{5DCB94AE-F125-4388-AAC2-90396541D5B7}" dt="2025-07-09T12:03:49.040" v="7529" actId="478"/>
          <ac:spMkLst>
            <pc:docMk/>
            <pc:sldMk cId="2462796863" sldId="858"/>
            <ac:spMk id="3" creationId="{59C5474F-B2D8-8B9A-18BA-C96FC0A77674}"/>
          </ac:spMkLst>
        </pc:spChg>
        <pc:spChg chg="add del mod">
          <ac:chgData name="Bedel, Yanick Noah" userId="c0f86fc0-9b55-4d74-958a-ff514487524f" providerId="ADAL" clId="{5DCB94AE-F125-4388-AAC2-90396541D5B7}" dt="2025-07-09T12:03:49.040" v="7529" actId="478"/>
          <ac:spMkLst>
            <pc:docMk/>
            <pc:sldMk cId="2462796863" sldId="858"/>
            <ac:spMk id="7" creationId="{939E6C68-6EC5-0A80-D191-94788FDD4522}"/>
          </ac:spMkLst>
        </pc:spChg>
        <pc:spChg chg="add del mod">
          <ac:chgData name="Bedel, Yanick Noah" userId="c0f86fc0-9b55-4d74-958a-ff514487524f" providerId="ADAL" clId="{5DCB94AE-F125-4388-AAC2-90396541D5B7}" dt="2025-07-09T12:03:49.040" v="7529" actId="478"/>
          <ac:spMkLst>
            <pc:docMk/>
            <pc:sldMk cId="2462796863" sldId="858"/>
            <ac:spMk id="8" creationId="{4D3B3E22-5D89-C112-9E8E-0D978DD2B9C2}"/>
          </ac:spMkLst>
        </pc:spChg>
        <pc:spChg chg="add del mod">
          <ac:chgData name="Bedel, Yanick Noah" userId="c0f86fc0-9b55-4d74-958a-ff514487524f" providerId="ADAL" clId="{5DCB94AE-F125-4388-AAC2-90396541D5B7}" dt="2025-07-09T12:03:49.040" v="7529" actId="478"/>
          <ac:spMkLst>
            <pc:docMk/>
            <pc:sldMk cId="2462796863" sldId="858"/>
            <ac:spMk id="9" creationId="{BFD89152-8D85-87C4-DFFF-E37865E03E9E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12" creationId="{8469A330-63DD-A708-586F-00BD6C96320C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13" creationId="{7E46E619-50D4-FBF2-2CD9-528C6A824D8E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15" creationId="{75171888-8A1A-ACDF-07EA-4226B9CEDA11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0" creationId="{38B6784F-9D1B-5729-B74B-1D68E715DC5F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3" creationId="{6CCCA556-85F7-FDF4-705A-2A903BDE00EB}"/>
          </ac:spMkLst>
        </pc:spChg>
        <pc:spChg chg="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4" creationId="{A05B9ACF-1600-758B-15D6-8B7E1A3827B7}"/>
          </ac:spMkLst>
        </pc:spChg>
        <pc:spChg chg="add 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6" creationId="{664F057B-04E9-A820-7477-5B8C7C0B90A5}"/>
          </ac:spMkLst>
        </pc:spChg>
        <pc:spChg chg="add 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7" creationId="{04405ED7-0840-6610-6A07-0640D3DEAE37}"/>
          </ac:spMkLst>
        </pc:spChg>
        <pc:spChg chg="add 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8" creationId="{D6A8A2A3-F552-23FC-F9ED-C0BE6A2EF7AE}"/>
          </ac:spMkLst>
        </pc:spChg>
        <pc:spChg chg="add mod">
          <ac:chgData name="Bedel, Yanick Noah" userId="c0f86fc0-9b55-4d74-958a-ff514487524f" providerId="ADAL" clId="{5DCB94AE-F125-4388-AAC2-90396541D5B7}" dt="2025-07-09T12:03:57.465" v="7530"/>
          <ac:spMkLst>
            <pc:docMk/>
            <pc:sldMk cId="2462796863" sldId="858"/>
            <ac:spMk id="29" creationId="{A152A603-A67F-5573-8CC6-85DD5BB44BE1}"/>
          </ac:spMkLst>
        </pc:spChg>
      </pc:sldChg>
      <pc:sldChg chg="addSp delSp modSp add del mod">
        <pc:chgData name="Bedel, Yanick Noah" userId="c0f86fc0-9b55-4d74-958a-ff514487524f" providerId="ADAL" clId="{5DCB94AE-F125-4388-AAC2-90396541D5B7}" dt="2025-07-08T12:38:46.811" v="248" actId="47"/>
        <pc:sldMkLst>
          <pc:docMk/>
          <pc:sldMk cId="2708244190" sldId="859"/>
        </pc:sldMkLst>
      </pc:sldChg>
      <pc:sldChg chg="addSp delSp modSp add del mod">
        <pc:chgData name="Bedel, Yanick Noah" userId="c0f86fc0-9b55-4d74-958a-ff514487524f" providerId="ADAL" clId="{5DCB94AE-F125-4388-AAC2-90396541D5B7}" dt="2025-07-09T16:32:50.945" v="12688" actId="47"/>
        <pc:sldMkLst>
          <pc:docMk/>
          <pc:sldMk cId="4216714915" sldId="859"/>
        </pc:sldMkLst>
      </pc:sldChg>
      <pc:sldChg chg="addSp delSp modSp add del mod ord">
        <pc:chgData name="Bedel, Yanick Noah" userId="c0f86fc0-9b55-4d74-958a-ff514487524f" providerId="ADAL" clId="{5DCB94AE-F125-4388-AAC2-90396541D5B7}" dt="2025-07-08T22:06:40.688" v="4293" actId="47"/>
        <pc:sldMkLst>
          <pc:docMk/>
          <pc:sldMk cId="94803635" sldId="860"/>
        </pc:sldMkLst>
      </pc:sldChg>
      <pc:sldChg chg="modSp add del mod ord">
        <pc:chgData name="Bedel, Yanick Noah" userId="c0f86fc0-9b55-4d74-958a-ff514487524f" providerId="ADAL" clId="{5DCB94AE-F125-4388-AAC2-90396541D5B7}" dt="2025-07-08T15:06:09.936" v="968" actId="47"/>
        <pc:sldMkLst>
          <pc:docMk/>
          <pc:sldMk cId="3023332968" sldId="860"/>
        </pc:sldMkLst>
      </pc:sldChg>
      <pc:sldChg chg="modSp add del mod ord">
        <pc:chgData name="Bedel, Yanick Noah" userId="c0f86fc0-9b55-4d74-958a-ff514487524f" providerId="ADAL" clId="{5DCB94AE-F125-4388-AAC2-90396541D5B7}" dt="2025-07-08T13:08:42.796" v="966" actId="47"/>
        <pc:sldMkLst>
          <pc:docMk/>
          <pc:sldMk cId="1305571854" sldId="861"/>
        </pc:sldMkLst>
      </pc:sldChg>
      <pc:sldChg chg="addSp delSp modSp add del mod ord modShow">
        <pc:chgData name="Bedel, Yanick Noah" userId="c0f86fc0-9b55-4d74-958a-ff514487524f" providerId="ADAL" clId="{5DCB94AE-F125-4388-AAC2-90396541D5B7}" dt="2025-07-09T08:41:05.389" v="7507" actId="47"/>
        <pc:sldMkLst>
          <pc:docMk/>
          <pc:sldMk cId="1623351630" sldId="861"/>
        </pc:sldMkLst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3" creationId="{F12C86E9-96DE-371D-9390-BF81EFE5C88D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13" creationId="{AE81F8C1-FE3B-3CFC-E3E2-264574F80033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16" creationId="{105CCE57-3330-555A-F7E1-71868ABF0EA9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19" creationId="{CE4FC3CB-B031-D7A3-114B-00D2CAD37218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28" creationId="{DB06F889-2BA8-A5A3-284C-C4BD2162E2A9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29" creationId="{CB8520BF-145A-B309-E83F-C61256ED00C5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30" creationId="{6CE3791B-35DC-C113-E3CB-60CB4CEC013E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32" creationId="{2A13AA33-74AB-D3F7-484D-7339E7B08154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33" creationId="{4A3E47DC-1D4C-B5DE-8ABE-1AAED2B3E3FC}"/>
          </ac:spMkLst>
        </pc:spChg>
        <pc:spChg chg="add mod">
          <ac:chgData name="Bedel, Yanick Noah" userId="c0f86fc0-9b55-4d74-958a-ff514487524f" providerId="ADAL" clId="{5DCB94AE-F125-4388-AAC2-90396541D5B7}" dt="2025-07-09T07:49:25.304" v="5376" actId="1076"/>
          <ac:spMkLst>
            <pc:docMk/>
            <pc:sldMk cId="1623351630" sldId="861"/>
            <ac:spMk id="36" creationId="{758E4B56-7BE2-1369-7B8C-8D2B3E5E07FD}"/>
          </ac:spMkLst>
        </pc:spChg>
        <pc:spChg chg="mod">
          <ac:chgData name="Bedel, Yanick Noah" userId="c0f86fc0-9b55-4d74-958a-ff514487524f" providerId="ADAL" clId="{5DCB94AE-F125-4388-AAC2-90396541D5B7}" dt="2025-07-09T07:49:28.822" v="5377"/>
          <ac:spMkLst>
            <pc:docMk/>
            <pc:sldMk cId="1623351630" sldId="861"/>
            <ac:spMk id="41" creationId="{7958B1B7-B2E6-B3D4-4059-B8475C496698}"/>
          </ac:spMkLst>
        </pc:spChg>
        <pc:spChg chg="mod">
          <ac:chgData name="Bedel, Yanick Noah" userId="c0f86fc0-9b55-4d74-958a-ff514487524f" providerId="ADAL" clId="{5DCB94AE-F125-4388-AAC2-90396541D5B7}" dt="2025-07-09T07:49:28.822" v="5377"/>
          <ac:spMkLst>
            <pc:docMk/>
            <pc:sldMk cId="1623351630" sldId="861"/>
            <ac:spMk id="44" creationId="{D8F332F9-D80B-67D1-CF02-A01C8F22FEBA}"/>
          </ac:spMkLst>
        </pc:spChg>
        <pc:spChg chg="mod">
          <ac:chgData name="Bedel, Yanick Noah" userId="c0f86fc0-9b55-4d74-958a-ff514487524f" providerId="ADAL" clId="{5DCB94AE-F125-4388-AAC2-90396541D5B7}" dt="2025-07-09T07:49:28.822" v="5377"/>
          <ac:spMkLst>
            <pc:docMk/>
            <pc:sldMk cId="1623351630" sldId="861"/>
            <ac:spMk id="47" creationId="{DFCC2971-6F8C-1AA7-9AC0-91AD3E0A2D4F}"/>
          </ac:spMkLst>
        </pc:spChg>
        <pc:grpChg chg="add mod">
          <ac:chgData name="Bedel, Yanick Noah" userId="c0f86fc0-9b55-4d74-958a-ff514487524f" providerId="ADAL" clId="{5DCB94AE-F125-4388-AAC2-90396541D5B7}" dt="2025-07-09T07:16:08.551" v="4916" actId="552"/>
          <ac:grpSpMkLst>
            <pc:docMk/>
            <pc:sldMk cId="1623351630" sldId="861"/>
            <ac:grpSpMk id="22" creationId="{D9103E68-AB5B-9157-F071-779243059BF2}"/>
          </ac:grpSpMkLst>
        </pc:grpChg>
        <pc:grpChg chg="add mod">
          <ac:chgData name="Bedel, Yanick Noah" userId="c0f86fc0-9b55-4d74-958a-ff514487524f" providerId="ADAL" clId="{5DCB94AE-F125-4388-AAC2-90396541D5B7}" dt="2025-07-09T07:18:13.035" v="4918" actId="1076"/>
          <ac:grpSpMkLst>
            <pc:docMk/>
            <pc:sldMk cId="1623351630" sldId="861"/>
            <ac:grpSpMk id="23" creationId="{57804EF1-3FB9-25E0-2516-FA4A2A216807}"/>
          </ac:grpSpMkLst>
        </pc:grpChg>
        <pc:grpChg chg="add mod">
          <ac:chgData name="Bedel, Yanick Noah" userId="c0f86fc0-9b55-4d74-958a-ff514487524f" providerId="ADAL" clId="{5DCB94AE-F125-4388-AAC2-90396541D5B7}" dt="2025-07-09T07:18:17.114" v="4919" actId="1076"/>
          <ac:grpSpMkLst>
            <pc:docMk/>
            <pc:sldMk cId="1623351630" sldId="861"/>
            <ac:grpSpMk id="24" creationId="{52B6922B-0D09-9DFA-F45C-4F29DFEB648C}"/>
          </ac:grpSpMkLst>
        </pc:grpChg>
        <pc:grpChg chg="add mod">
          <ac:chgData name="Bedel, Yanick Noah" userId="c0f86fc0-9b55-4d74-958a-ff514487524f" providerId="ADAL" clId="{5DCB94AE-F125-4388-AAC2-90396541D5B7}" dt="2025-07-09T07:49:33.605" v="5379" actId="1076"/>
          <ac:grpSpMkLst>
            <pc:docMk/>
            <pc:sldMk cId="1623351630" sldId="861"/>
            <ac:grpSpMk id="40" creationId="{EBC76EED-A5C0-CF33-8D34-93DEAD9977D8}"/>
          </ac:grpSpMkLst>
        </pc:grpChg>
        <pc:grpChg chg="add mod">
          <ac:chgData name="Bedel, Yanick Noah" userId="c0f86fc0-9b55-4d74-958a-ff514487524f" providerId="ADAL" clId="{5DCB94AE-F125-4388-AAC2-90396541D5B7}" dt="2025-07-09T07:49:35.669" v="5380" actId="1076"/>
          <ac:grpSpMkLst>
            <pc:docMk/>
            <pc:sldMk cId="1623351630" sldId="861"/>
            <ac:grpSpMk id="43" creationId="{79804A77-14A6-EC56-4A73-A2D09439C3A4}"/>
          </ac:grpSpMkLst>
        </pc:grpChg>
        <pc:grpChg chg="add mod">
          <ac:chgData name="Bedel, Yanick Noah" userId="c0f86fc0-9b55-4d74-958a-ff514487524f" providerId="ADAL" clId="{5DCB94AE-F125-4388-AAC2-90396541D5B7}" dt="2025-07-09T07:49:37.349" v="5381" actId="1076"/>
          <ac:grpSpMkLst>
            <pc:docMk/>
            <pc:sldMk cId="1623351630" sldId="861"/>
            <ac:grpSpMk id="46" creationId="{5F66910B-ECA5-46A8-665E-3654CB2D7BAF}"/>
          </ac:grpSpMkLst>
        </pc:grpChg>
        <pc:picChg chg="mod">
          <ac:chgData name="Bedel, Yanick Noah" userId="c0f86fc0-9b55-4d74-958a-ff514487524f" providerId="ADAL" clId="{5DCB94AE-F125-4388-AAC2-90396541D5B7}" dt="2025-07-09T07:49:28.822" v="5377"/>
          <ac:picMkLst>
            <pc:docMk/>
            <pc:sldMk cId="1623351630" sldId="861"/>
            <ac:picMk id="42" creationId="{4D4A3E12-3F9A-805E-F2D0-3547179CF92E}"/>
          </ac:picMkLst>
        </pc:picChg>
        <pc:picChg chg="mod">
          <ac:chgData name="Bedel, Yanick Noah" userId="c0f86fc0-9b55-4d74-958a-ff514487524f" providerId="ADAL" clId="{5DCB94AE-F125-4388-AAC2-90396541D5B7}" dt="2025-07-09T07:49:28.822" v="5377"/>
          <ac:picMkLst>
            <pc:docMk/>
            <pc:sldMk cId="1623351630" sldId="861"/>
            <ac:picMk id="45" creationId="{C8F86371-49E6-8E59-5399-68DFD61D0621}"/>
          </ac:picMkLst>
        </pc:picChg>
        <pc:picChg chg="mod">
          <ac:chgData name="Bedel, Yanick Noah" userId="c0f86fc0-9b55-4d74-958a-ff514487524f" providerId="ADAL" clId="{5DCB94AE-F125-4388-AAC2-90396541D5B7}" dt="2025-07-09T07:49:28.822" v="5377"/>
          <ac:picMkLst>
            <pc:docMk/>
            <pc:sldMk cId="1623351630" sldId="861"/>
            <ac:picMk id="48" creationId="{0DA77C5B-15C6-6A14-34F0-F777D2A978DD}"/>
          </ac:picMkLst>
        </pc:picChg>
      </pc:sldChg>
      <pc:sldChg chg="modSp add del mod">
        <pc:chgData name="Bedel, Yanick Noah" userId="c0f86fc0-9b55-4d74-958a-ff514487524f" providerId="ADAL" clId="{5DCB94AE-F125-4388-AAC2-90396541D5B7}" dt="2025-07-08T15:06:10.590" v="969" actId="47"/>
        <pc:sldMkLst>
          <pc:docMk/>
          <pc:sldMk cId="509863689" sldId="862"/>
        </pc:sldMkLst>
      </pc:sldChg>
      <pc:sldChg chg="addSp delSp modSp add mod ord delAnim modAnim">
        <pc:chgData name="Bedel, Yanick Noah" userId="c0f86fc0-9b55-4d74-958a-ff514487524f" providerId="ADAL" clId="{5DCB94AE-F125-4388-AAC2-90396541D5B7}" dt="2025-07-09T16:24:48.542" v="12097" actId="14100"/>
        <pc:sldMkLst>
          <pc:docMk/>
          <pc:sldMk cId="1401880333" sldId="862"/>
        </pc:sldMkLst>
        <pc:spChg chg="mod">
          <ac:chgData name="Bedel, Yanick Noah" userId="c0f86fc0-9b55-4d74-958a-ff514487524f" providerId="ADAL" clId="{5DCB94AE-F125-4388-AAC2-90396541D5B7}" dt="2025-07-08T15:10:19.777" v="1141" actId="20577"/>
          <ac:spMkLst>
            <pc:docMk/>
            <pc:sldMk cId="1401880333" sldId="862"/>
            <ac:spMk id="2" creationId="{09144FCC-4D33-F249-7A70-8823ABF59F25}"/>
          </ac:spMkLst>
        </pc:spChg>
        <pc:spChg chg="mod">
          <ac:chgData name="Bedel, Yanick Noah" userId="c0f86fc0-9b55-4d74-958a-ff514487524f" providerId="ADAL" clId="{5DCB94AE-F125-4388-AAC2-90396541D5B7}" dt="2025-07-09T16:24:48.542" v="12097" actId="14100"/>
          <ac:spMkLst>
            <pc:docMk/>
            <pc:sldMk cId="1401880333" sldId="862"/>
            <ac:spMk id="3" creationId="{2FAA09FB-D964-49A3-C404-1162342B2782}"/>
          </ac:spMkLst>
        </pc:spChg>
        <pc:spChg chg="mod">
          <ac:chgData name="Bedel, Yanick Noah" userId="c0f86fc0-9b55-4d74-958a-ff514487524f" providerId="ADAL" clId="{5DCB94AE-F125-4388-AAC2-90396541D5B7}" dt="2025-07-09T07:57:54.316" v="5442" actId="20577"/>
          <ac:spMkLst>
            <pc:docMk/>
            <pc:sldMk cId="1401880333" sldId="862"/>
            <ac:spMk id="6" creationId="{1718BFDA-A999-22BD-F8FA-D154D7DCCC67}"/>
          </ac:spMkLst>
        </pc:spChg>
        <pc:spChg chg="add mod">
          <ac:chgData name="Bedel, Yanick Noah" userId="c0f86fc0-9b55-4d74-958a-ff514487524f" providerId="ADAL" clId="{5DCB94AE-F125-4388-AAC2-90396541D5B7}" dt="2025-07-09T16:24:32.229" v="12096" actId="1035"/>
          <ac:spMkLst>
            <pc:docMk/>
            <pc:sldMk cId="1401880333" sldId="862"/>
            <ac:spMk id="7" creationId="{5175CC55-7719-4F4D-3CCB-D9461A89F241}"/>
          </ac:spMkLst>
        </pc:spChg>
        <pc:spChg chg="mod">
          <ac:chgData name="Bedel, Yanick Noah" userId="c0f86fc0-9b55-4d74-958a-ff514487524f" providerId="ADAL" clId="{5DCB94AE-F125-4388-AAC2-90396541D5B7}" dt="2025-07-09T08:33:10.584" v="6856" actId="1038"/>
          <ac:spMkLst>
            <pc:docMk/>
            <pc:sldMk cId="1401880333" sldId="862"/>
            <ac:spMk id="8" creationId="{8633DAC6-02A3-431A-0346-31A612FACBCC}"/>
          </ac:spMkLst>
        </pc:spChg>
        <pc:spChg chg="add mod">
          <ac:chgData name="Bedel, Yanick Noah" userId="c0f86fc0-9b55-4d74-958a-ff514487524f" providerId="ADAL" clId="{5DCB94AE-F125-4388-AAC2-90396541D5B7}" dt="2025-07-09T08:33:10.584" v="6856" actId="1038"/>
          <ac:spMkLst>
            <pc:docMk/>
            <pc:sldMk cId="1401880333" sldId="862"/>
            <ac:spMk id="9" creationId="{76C6C95F-B962-1E0D-2B04-0E74664B8A42}"/>
          </ac:spMkLst>
        </pc:spChg>
        <pc:spChg chg="add mod">
          <ac:chgData name="Bedel, Yanick Noah" userId="c0f86fc0-9b55-4d74-958a-ff514487524f" providerId="ADAL" clId="{5DCB94AE-F125-4388-AAC2-90396541D5B7}" dt="2025-07-09T08:33:10.584" v="6856" actId="1038"/>
          <ac:spMkLst>
            <pc:docMk/>
            <pc:sldMk cId="1401880333" sldId="862"/>
            <ac:spMk id="10" creationId="{88475D8F-8B5F-1C14-8DF8-9AAF30A59308}"/>
          </ac:spMkLst>
        </pc:spChg>
        <pc:spChg chg="add mod">
          <ac:chgData name="Bedel, Yanick Noah" userId="c0f86fc0-9b55-4d74-958a-ff514487524f" providerId="ADAL" clId="{5DCB94AE-F125-4388-AAC2-90396541D5B7}" dt="2025-07-09T16:24:32.229" v="12096" actId="1035"/>
          <ac:spMkLst>
            <pc:docMk/>
            <pc:sldMk cId="1401880333" sldId="862"/>
            <ac:spMk id="12" creationId="{EB69051F-46A4-F2A4-BE81-E9230B0A9BBD}"/>
          </ac:spMkLst>
        </pc:spChg>
        <pc:spChg chg="add mod">
          <ac:chgData name="Bedel, Yanick Noah" userId="c0f86fc0-9b55-4d74-958a-ff514487524f" providerId="ADAL" clId="{5DCB94AE-F125-4388-AAC2-90396541D5B7}" dt="2025-07-09T16:23:59.425" v="12079" actId="1038"/>
          <ac:spMkLst>
            <pc:docMk/>
            <pc:sldMk cId="1401880333" sldId="862"/>
            <ac:spMk id="13" creationId="{7EF73242-6542-DBC7-D5A0-930420829F9E}"/>
          </ac:spMkLst>
        </pc:spChg>
        <pc:spChg chg="mod">
          <ac:chgData name="Bedel, Yanick Noah" userId="c0f86fc0-9b55-4d74-958a-ff514487524f" providerId="ADAL" clId="{5DCB94AE-F125-4388-AAC2-90396541D5B7}" dt="2025-07-09T16:23:59.425" v="12079" actId="1038"/>
          <ac:spMkLst>
            <pc:docMk/>
            <pc:sldMk cId="1401880333" sldId="862"/>
            <ac:spMk id="14" creationId="{DF4D1330-2A44-7422-C01B-6F4B69A46E1B}"/>
          </ac:spMkLst>
        </pc:spChg>
        <pc:spChg chg="mod">
          <ac:chgData name="Bedel, Yanick Noah" userId="c0f86fc0-9b55-4d74-958a-ff514487524f" providerId="ADAL" clId="{5DCB94AE-F125-4388-AAC2-90396541D5B7}" dt="2025-07-09T16:23:59.425" v="12079" actId="1038"/>
          <ac:spMkLst>
            <pc:docMk/>
            <pc:sldMk cId="1401880333" sldId="862"/>
            <ac:spMk id="15" creationId="{30ADAB55-1A36-8CF5-9723-688E30C027CD}"/>
          </ac:spMkLst>
        </pc:spChg>
        <pc:spChg chg="add mod">
          <ac:chgData name="Bedel, Yanick Noah" userId="c0f86fc0-9b55-4d74-958a-ff514487524f" providerId="ADAL" clId="{5DCB94AE-F125-4388-AAC2-90396541D5B7}" dt="2025-07-09T16:23:59.425" v="12079" actId="1038"/>
          <ac:spMkLst>
            <pc:docMk/>
            <pc:sldMk cId="1401880333" sldId="862"/>
            <ac:spMk id="16" creationId="{FF0B1267-0110-886E-3242-1D0F548364C2}"/>
          </ac:spMkLst>
        </pc:spChg>
        <pc:spChg chg="add mod">
          <ac:chgData name="Bedel, Yanick Noah" userId="c0f86fc0-9b55-4d74-958a-ff514487524f" providerId="ADAL" clId="{5DCB94AE-F125-4388-AAC2-90396541D5B7}" dt="2025-07-09T08:27:30" v="6707" actId="1076"/>
          <ac:spMkLst>
            <pc:docMk/>
            <pc:sldMk cId="1401880333" sldId="862"/>
            <ac:spMk id="19" creationId="{02209FD5-9678-4858-50F9-C30FBFD2E4A8}"/>
          </ac:spMkLst>
        </pc:spChg>
        <pc:spChg chg="mod">
          <ac:chgData name="Bedel, Yanick Noah" userId="c0f86fc0-9b55-4d74-958a-ff514487524f" providerId="ADAL" clId="{5DCB94AE-F125-4388-AAC2-90396541D5B7}" dt="2025-07-08T22:09:17.258" v="4315"/>
          <ac:spMkLst>
            <pc:docMk/>
            <pc:sldMk cId="1401880333" sldId="862"/>
            <ac:spMk id="24" creationId="{15055B65-4B02-5C53-D96B-B42EE147E089}"/>
          </ac:spMkLst>
        </pc:spChg>
        <pc:grpChg chg="mod">
          <ac:chgData name="Bedel, Yanick Noah" userId="c0f86fc0-9b55-4d74-958a-ff514487524f" providerId="ADAL" clId="{5DCB94AE-F125-4388-AAC2-90396541D5B7}" dt="2025-07-09T08:33:03.833" v="6842" actId="1038"/>
          <ac:grpSpMkLst>
            <pc:docMk/>
            <pc:sldMk cId="1401880333" sldId="862"/>
            <ac:grpSpMk id="23" creationId="{16F4A641-58D0-42CB-D7E8-37F87B65A643}"/>
          </ac:grpSpMkLst>
        </pc:grpChg>
        <pc:grpChg chg="mod">
          <ac:chgData name="Bedel, Yanick Noah" userId="c0f86fc0-9b55-4d74-958a-ff514487524f" providerId="ADAL" clId="{5DCB94AE-F125-4388-AAC2-90396541D5B7}" dt="2025-07-09T16:23:59.425" v="12079" actId="1038"/>
          <ac:grpSpMkLst>
            <pc:docMk/>
            <pc:sldMk cId="1401880333" sldId="862"/>
            <ac:grpSpMk id="26" creationId="{033A2F30-90D6-D07E-1907-C5958A50CCC1}"/>
          </ac:grpSpMkLst>
        </pc:grpChg>
        <pc:cxnChg chg="mod">
          <ac:chgData name="Bedel, Yanick Noah" userId="c0f86fc0-9b55-4d74-958a-ff514487524f" providerId="ADAL" clId="{5DCB94AE-F125-4388-AAC2-90396541D5B7}" dt="2025-07-09T16:23:23.732" v="12009" actId="1037"/>
          <ac:cxnSpMkLst>
            <pc:docMk/>
            <pc:sldMk cId="1401880333" sldId="862"/>
            <ac:cxnSpMk id="11" creationId="{F028D561-15E6-11A1-55A7-B3C5B58D4349}"/>
          </ac:cxnSpMkLst>
        </pc:cxnChg>
        <pc:cxnChg chg="mod">
          <ac:chgData name="Bedel, Yanick Noah" userId="c0f86fc0-9b55-4d74-958a-ff514487524f" providerId="ADAL" clId="{5DCB94AE-F125-4388-AAC2-90396541D5B7}" dt="2025-07-09T16:23:59.425" v="12079" actId="1038"/>
          <ac:cxnSpMkLst>
            <pc:docMk/>
            <pc:sldMk cId="1401880333" sldId="862"/>
            <ac:cxnSpMk id="17" creationId="{94F7DD33-67EE-D4DD-C224-9BB9AD37943A}"/>
          </ac:cxnSpMkLst>
        </pc:cxnChg>
        <pc:cxnChg chg="mod">
          <ac:chgData name="Bedel, Yanick Noah" userId="c0f86fc0-9b55-4d74-958a-ff514487524f" providerId="ADAL" clId="{5DCB94AE-F125-4388-AAC2-90396541D5B7}" dt="2025-07-09T16:23:06.690" v="11983" actId="1036"/>
          <ac:cxnSpMkLst>
            <pc:docMk/>
            <pc:sldMk cId="1401880333" sldId="862"/>
            <ac:cxnSpMk id="18" creationId="{7D20456C-6691-A6AD-29F6-7A690CAE770F}"/>
          </ac:cxnSpMkLst>
        </pc:cxnChg>
      </pc:sldChg>
      <pc:sldChg chg="modSp add del mod ord">
        <pc:chgData name="Bedel, Yanick Noah" userId="c0f86fc0-9b55-4d74-958a-ff514487524f" providerId="ADAL" clId="{5DCB94AE-F125-4388-AAC2-90396541D5B7}" dt="2025-07-08T15:06:10.941" v="971" actId="47"/>
        <pc:sldMkLst>
          <pc:docMk/>
          <pc:sldMk cId="1397559504" sldId="863"/>
        </pc:sldMkLst>
      </pc:sldChg>
      <pc:sldChg chg="modSp add del mod ord">
        <pc:chgData name="Bedel, Yanick Noah" userId="c0f86fc0-9b55-4d74-958a-ff514487524f" providerId="ADAL" clId="{5DCB94AE-F125-4388-AAC2-90396541D5B7}" dt="2025-07-09T08:20:53.570" v="6006" actId="2696"/>
        <pc:sldMkLst>
          <pc:docMk/>
          <pc:sldMk cId="3287610137" sldId="863"/>
        </pc:sldMkLst>
        <pc:spChg chg="mod">
          <ac:chgData name="Bedel, Yanick Noah" userId="c0f86fc0-9b55-4d74-958a-ff514487524f" providerId="ADAL" clId="{5DCB94AE-F125-4388-AAC2-90396541D5B7}" dt="2025-07-09T07:58:08.848" v="5445" actId="20577"/>
          <ac:spMkLst>
            <pc:docMk/>
            <pc:sldMk cId="3287610137" sldId="863"/>
            <ac:spMk id="6" creationId="{483B8BDD-5E19-BAE4-3484-133BD5F1BED8}"/>
          </ac:spMkLst>
        </pc:spChg>
      </pc:sldChg>
      <pc:sldChg chg="addSp delSp modSp add mod ord">
        <pc:chgData name="Bedel, Yanick Noah" userId="c0f86fc0-9b55-4d74-958a-ff514487524f" providerId="ADAL" clId="{5DCB94AE-F125-4388-AAC2-90396541D5B7}" dt="2025-07-09T16:28:29.787" v="12405" actId="1035"/>
        <pc:sldMkLst>
          <pc:docMk/>
          <pc:sldMk cId="3484090773" sldId="864"/>
        </pc:sldMkLst>
        <pc:spChg chg="add mod">
          <ac:chgData name="Bedel, Yanick Noah" userId="c0f86fc0-9b55-4d74-958a-ff514487524f" providerId="ADAL" clId="{5DCB94AE-F125-4388-AAC2-90396541D5B7}" dt="2025-07-09T15:34:58.903" v="9730" actId="20577"/>
          <ac:spMkLst>
            <pc:docMk/>
            <pc:sldMk cId="3484090773" sldId="864"/>
            <ac:spMk id="3" creationId="{7D224632-A293-CB94-F60D-EB15E38DB3AE}"/>
          </ac:spMkLst>
        </pc:spChg>
        <pc:spChg chg="mod">
          <ac:chgData name="Bedel, Yanick Noah" userId="c0f86fc0-9b55-4d74-958a-ff514487524f" providerId="ADAL" clId="{5DCB94AE-F125-4388-AAC2-90396541D5B7}" dt="2025-07-09T07:58:02.875" v="5444" actId="20577"/>
          <ac:spMkLst>
            <pc:docMk/>
            <pc:sldMk cId="3484090773" sldId="864"/>
            <ac:spMk id="6" creationId="{A4E66C82-ACCF-6B38-8A2E-7F6F6D42AB60}"/>
          </ac:spMkLst>
        </pc:spChg>
        <pc:spChg chg="add 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10" creationId="{D90A105D-0CE1-E31E-FAAF-2CB128813F6D}"/>
          </ac:spMkLst>
        </pc:spChg>
        <pc:spChg chg="add mod">
          <ac:chgData name="Bedel, Yanick Noah" userId="c0f86fc0-9b55-4d74-958a-ff514487524f" providerId="ADAL" clId="{5DCB94AE-F125-4388-AAC2-90396541D5B7}" dt="2025-07-09T15:34:51.230" v="9721" actId="20577"/>
          <ac:spMkLst>
            <pc:docMk/>
            <pc:sldMk cId="3484090773" sldId="864"/>
            <ac:spMk id="11" creationId="{DBCB7BA0-7D76-FC47-30FA-B51F76482917}"/>
          </ac:spMkLst>
        </pc:spChg>
        <pc:spChg chg="add del mod">
          <ac:chgData name="Bedel, Yanick Noah" userId="c0f86fc0-9b55-4d74-958a-ff514487524f" providerId="ADAL" clId="{5DCB94AE-F125-4388-AAC2-90396541D5B7}" dt="2025-07-09T16:28:06.536" v="12348" actId="478"/>
          <ac:spMkLst>
            <pc:docMk/>
            <pc:sldMk cId="3484090773" sldId="864"/>
            <ac:spMk id="12" creationId="{086ABE90-A912-37F7-21BE-BFCF22666247}"/>
          </ac:spMkLst>
        </pc:spChg>
        <pc:spChg chg="mod">
          <ac:chgData name="Bedel, Yanick Noah" userId="c0f86fc0-9b55-4d74-958a-ff514487524f" providerId="ADAL" clId="{5DCB94AE-F125-4388-AAC2-90396541D5B7}" dt="2025-07-09T16:26:27.262" v="12200" actId="1038"/>
          <ac:spMkLst>
            <pc:docMk/>
            <pc:sldMk cId="3484090773" sldId="864"/>
            <ac:spMk id="20" creationId="{7060843F-A1A2-C09E-2C2C-22E20E352B29}"/>
          </ac:spMkLst>
        </pc:spChg>
        <pc:spChg chg="mod">
          <ac:chgData name="Bedel, Yanick Noah" userId="c0f86fc0-9b55-4d74-958a-ff514487524f" providerId="ADAL" clId="{5DCB94AE-F125-4388-AAC2-90396541D5B7}" dt="2025-07-09T16:26:27.262" v="12200" actId="1038"/>
          <ac:spMkLst>
            <pc:docMk/>
            <pc:sldMk cId="3484090773" sldId="864"/>
            <ac:spMk id="21" creationId="{AD137E8A-C218-796F-54FA-B78FF4434077}"/>
          </ac:spMkLst>
        </pc:spChg>
        <pc:spChg chg="mod">
          <ac:chgData name="Bedel, Yanick Noah" userId="c0f86fc0-9b55-4d74-958a-ff514487524f" providerId="ADAL" clId="{5DCB94AE-F125-4388-AAC2-90396541D5B7}" dt="2025-07-09T16:27:27.170" v="12343" actId="14100"/>
          <ac:spMkLst>
            <pc:docMk/>
            <pc:sldMk cId="3484090773" sldId="864"/>
            <ac:spMk id="22" creationId="{21F69104-1772-FEDE-1344-0498724BC2AE}"/>
          </ac:spMkLst>
        </pc:spChg>
        <pc:spChg chg="mod">
          <ac:chgData name="Bedel, Yanick Noah" userId="c0f86fc0-9b55-4d74-958a-ff514487524f" providerId="ADAL" clId="{5DCB94AE-F125-4388-AAC2-90396541D5B7}" dt="2025-07-09T16:28:20.242" v="12373" actId="1036"/>
          <ac:spMkLst>
            <pc:docMk/>
            <pc:sldMk cId="3484090773" sldId="864"/>
            <ac:spMk id="23" creationId="{1566BB50-3AE9-CDD2-8D28-A2F9099266AF}"/>
          </ac:spMkLst>
        </pc:spChg>
        <pc:spChg chg="add mod">
          <ac:chgData name="Bedel, Yanick Noah" userId="c0f86fc0-9b55-4d74-958a-ff514487524f" providerId="ADAL" clId="{5DCB94AE-F125-4388-AAC2-90396541D5B7}" dt="2025-07-09T16:28:29.787" v="12405" actId="1035"/>
          <ac:spMkLst>
            <pc:docMk/>
            <pc:sldMk cId="3484090773" sldId="864"/>
            <ac:spMk id="24" creationId="{CB679F17-E4EC-3444-26EC-7D6F7B157BED}"/>
          </ac:spMkLst>
        </pc:spChg>
        <pc:spChg chg="mod">
          <ac:chgData name="Bedel, Yanick Noah" userId="c0f86fc0-9b55-4d74-958a-ff514487524f" providerId="ADAL" clId="{5DCB94AE-F125-4388-AAC2-90396541D5B7}" dt="2025-07-09T16:28:20.242" v="12373" actId="1036"/>
          <ac:spMkLst>
            <pc:docMk/>
            <pc:sldMk cId="3484090773" sldId="864"/>
            <ac:spMk id="25" creationId="{E6A83A54-B096-82BA-0869-4C77DEE91586}"/>
          </ac:spMkLst>
        </pc:spChg>
        <pc:spChg chg="add mod">
          <ac:chgData name="Bedel, Yanick Noah" userId="c0f86fc0-9b55-4d74-958a-ff514487524f" providerId="ADAL" clId="{5DCB94AE-F125-4388-AAC2-90396541D5B7}" dt="2025-07-09T16:28:03.664" v="12347"/>
          <ac:spMkLst>
            <pc:docMk/>
            <pc:sldMk cId="3484090773" sldId="864"/>
            <ac:spMk id="26" creationId="{E76B6F10-82E2-8DB9-8F5D-66C50888A9E4}"/>
          </ac:spMkLst>
        </pc:spChg>
        <pc:spChg chg="add mod">
          <ac:chgData name="Bedel, Yanick Noah" userId="c0f86fc0-9b55-4d74-958a-ff514487524f" providerId="ADAL" clId="{5DCB94AE-F125-4388-AAC2-90396541D5B7}" dt="2025-07-09T16:28:29.787" v="12405" actId="1035"/>
          <ac:spMkLst>
            <pc:docMk/>
            <pc:sldMk cId="3484090773" sldId="864"/>
            <ac:spMk id="27" creationId="{3A4030D7-1497-9B66-C6D4-97EC1E4B8F7E}"/>
          </ac:spMkLst>
        </pc:spChg>
        <pc:spChg chg="add 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28" creationId="{77A34415-92FC-3E60-F862-8A5F0F43F0DC}"/>
          </ac:spMkLst>
        </pc:spChg>
        <pc:spChg chg="add 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33" creationId="{35ECC393-46B8-3A70-0689-AEE2F51AD70A}"/>
          </ac:spMkLst>
        </pc:spChg>
        <pc:spChg chg="add 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34" creationId="{2FD71A56-F1E0-5142-4F07-34FEEC223B51}"/>
          </ac:spMkLst>
        </pc:spChg>
        <pc:spChg chg="add del mod">
          <ac:chgData name="Bedel, Yanick Noah" userId="c0f86fc0-9b55-4d74-958a-ff514487524f" providerId="ADAL" clId="{5DCB94AE-F125-4388-AAC2-90396541D5B7}" dt="2025-07-09T15:34:44.629" v="9712" actId="478"/>
          <ac:spMkLst>
            <pc:docMk/>
            <pc:sldMk cId="3484090773" sldId="864"/>
            <ac:spMk id="35" creationId="{EB9447A1-3C18-2B55-A865-F85775CEE83D}"/>
          </ac:spMkLst>
        </pc:spChg>
        <pc:spChg chg="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63" creationId="{9D670A84-7EB5-911D-2669-A9C06D812B15}"/>
          </ac:spMkLst>
        </pc:spChg>
        <pc:spChg chg="mod">
          <ac:chgData name="Bedel, Yanick Noah" userId="c0f86fc0-9b55-4d74-958a-ff514487524f" providerId="ADAL" clId="{5DCB94AE-F125-4388-AAC2-90396541D5B7}" dt="2025-07-09T07:55:03.273" v="5400"/>
          <ac:spMkLst>
            <pc:docMk/>
            <pc:sldMk cId="3484090773" sldId="864"/>
            <ac:spMk id="68" creationId="{E8F25687-503D-E2FC-E5F8-18ED2A452F08}"/>
          </ac:spMkLst>
        </pc:spChg>
        <pc:spChg chg="add mod">
          <ac:chgData name="Bedel, Yanick Noah" userId="c0f86fc0-9b55-4d74-958a-ff514487524f" providerId="ADAL" clId="{5DCB94AE-F125-4388-AAC2-90396541D5B7}" dt="2025-07-09T07:55:39.378" v="5423" actId="13926"/>
          <ac:spMkLst>
            <pc:docMk/>
            <pc:sldMk cId="3484090773" sldId="864"/>
            <ac:spMk id="70" creationId="{700CB476-9648-3472-2F15-6364E0807EB3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2" creationId="{AEB6ED87-F39C-C26E-B2E8-B0E28D07AF2B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3" creationId="{8B08152B-D1A6-07FF-8CA2-108F77B44E17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4" creationId="{9263FA4E-7104-D22D-A627-2C13B0827996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7" creationId="{9BA412B4-A683-D997-61B9-4F2A5E5444E3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8" creationId="{29E9AC07-5F01-E47A-1DE3-D9B4C1AFBD62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79" creationId="{BC72CD08-09EE-46C5-B992-950688D2D742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83" creationId="{0EC0944C-1A71-20F3-B917-9BC67887A2C7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84" creationId="{F2C3D505-A3D4-DBB2-0181-6EFA5A7E6F20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88" creationId="{078FAB8D-5814-C34A-284F-4A45C5C3AB40}"/>
          </ac:spMkLst>
        </pc:spChg>
        <pc:spChg chg="mod">
          <ac:chgData name="Bedel, Yanick Noah" userId="c0f86fc0-9b55-4d74-958a-ff514487524f" providerId="ADAL" clId="{5DCB94AE-F125-4388-AAC2-90396541D5B7}" dt="2025-07-09T09:22:17.600" v="7527"/>
          <ac:spMkLst>
            <pc:docMk/>
            <pc:sldMk cId="3484090773" sldId="864"/>
            <ac:spMk id="89" creationId="{74FCFBB7-C32D-1817-9FC5-76FFCA3A4FB7}"/>
          </ac:spMkLst>
        </pc:spChg>
        <pc:grpChg chg="add del mod">
          <ac:chgData name="Bedel, Yanick Noah" userId="c0f86fc0-9b55-4d74-958a-ff514487524f" providerId="ADAL" clId="{5DCB94AE-F125-4388-AAC2-90396541D5B7}" dt="2025-07-09T07:54:58.102" v="5399" actId="478"/>
          <ac:grpSpMkLst>
            <pc:docMk/>
            <pc:sldMk cId="3484090773" sldId="864"/>
            <ac:grpSpMk id="11" creationId="{54ABB2E4-C932-83A4-AF94-6E4522B13BBF}"/>
          </ac:grpSpMkLst>
        </pc:grpChg>
        <pc:grpChg chg="add del mod">
          <ac:chgData name="Bedel, Yanick Noah" userId="c0f86fc0-9b55-4d74-958a-ff514487524f" providerId="ADAL" clId="{5DCB94AE-F125-4388-AAC2-90396541D5B7}" dt="2025-07-09T07:54:58.102" v="5399" actId="478"/>
          <ac:grpSpMkLst>
            <pc:docMk/>
            <pc:sldMk cId="3484090773" sldId="864"/>
            <ac:grpSpMk id="14" creationId="{CACBF8C2-0E9F-76D1-4581-9035FFACA21C}"/>
          </ac:grpSpMkLst>
        </pc:grpChg>
        <pc:grpChg chg="add del mod">
          <ac:chgData name="Bedel, Yanick Noah" userId="c0f86fc0-9b55-4d74-958a-ff514487524f" providerId="ADAL" clId="{5DCB94AE-F125-4388-AAC2-90396541D5B7}" dt="2025-07-09T07:54:58.102" v="5399" actId="478"/>
          <ac:grpSpMkLst>
            <pc:docMk/>
            <pc:sldMk cId="3484090773" sldId="864"/>
            <ac:grpSpMk id="17" creationId="{2D371C9E-A811-15DC-C42A-D52481D8D6EE}"/>
          </ac:grpSpMkLst>
        </pc:grpChg>
        <pc:grpChg chg="del">
          <ac:chgData name="Bedel, Yanick Noah" userId="c0f86fc0-9b55-4d74-958a-ff514487524f" providerId="ADAL" clId="{5DCB94AE-F125-4388-AAC2-90396541D5B7}" dt="2025-07-09T09:22:17.249" v="7526" actId="478"/>
          <ac:grpSpMkLst>
            <pc:docMk/>
            <pc:sldMk cId="3484090773" sldId="864"/>
            <ac:grpSpMk id="50" creationId="{CFC3B32D-EB2B-C9F4-F9A7-EC8090DA82A0}"/>
          </ac:grpSpMkLst>
        </pc:grpChg>
        <pc:grpChg chg="del">
          <ac:chgData name="Bedel, Yanick Noah" userId="c0f86fc0-9b55-4d74-958a-ff514487524f" providerId="ADAL" clId="{5DCB94AE-F125-4388-AAC2-90396541D5B7}" dt="2025-07-09T09:22:17.249" v="7526" actId="478"/>
          <ac:grpSpMkLst>
            <pc:docMk/>
            <pc:sldMk cId="3484090773" sldId="864"/>
            <ac:grpSpMk id="55" creationId="{D2C826FA-0C8E-A1B0-9291-DAE4A7E5325F}"/>
          </ac:grpSpMkLst>
        </pc:grpChg>
        <pc:grpChg chg="del">
          <ac:chgData name="Bedel, Yanick Noah" userId="c0f86fc0-9b55-4d74-958a-ff514487524f" providerId="ADAL" clId="{5DCB94AE-F125-4388-AAC2-90396541D5B7}" dt="2025-07-09T09:22:17.249" v="7526" actId="478"/>
          <ac:grpSpMkLst>
            <pc:docMk/>
            <pc:sldMk cId="3484090773" sldId="864"/>
            <ac:grpSpMk id="60" creationId="{5465970F-F8D7-B947-50A9-CC1470EB5535}"/>
          </ac:grpSpMkLst>
        </pc:grpChg>
        <pc:grpChg chg="del">
          <ac:chgData name="Bedel, Yanick Noah" userId="c0f86fc0-9b55-4d74-958a-ff514487524f" providerId="ADAL" clId="{5DCB94AE-F125-4388-AAC2-90396541D5B7}" dt="2025-07-09T09:22:17.249" v="7526" actId="478"/>
          <ac:grpSpMkLst>
            <pc:docMk/>
            <pc:sldMk cId="3484090773" sldId="864"/>
            <ac:grpSpMk id="65" creationId="{51F313FC-A0BF-7BDD-D368-611406FD936F}"/>
          </ac:grpSpMkLst>
        </pc:grpChg>
      </pc:sldChg>
      <pc:sldChg chg="modSp add del mod">
        <pc:chgData name="Bedel, Yanick Noah" userId="c0f86fc0-9b55-4d74-958a-ff514487524f" providerId="ADAL" clId="{5DCB94AE-F125-4388-AAC2-90396541D5B7}" dt="2025-07-08T15:06:10.784" v="970" actId="47"/>
        <pc:sldMkLst>
          <pc:docMk/>
          <pc:sldMk cId="4044217566" sldId="864"/>
        </pc:sldMkLst>
      </pc:sldChg>
      <pc:sldChg chg="modSp add del mod ord">
        <pc:chgData name="Bedel, Yanick Noah" userId="c0f86fc0-9b55-4d74-958a-ff514487524f" providerId="ADAL" clId="{5DCB94AE-F125-4388-AAC2-90396541D5B7}" dt="2025-07-08T15:06:11.196" v="973" actId="47"/>
        <pc:sldMkLst>
          <pc:docMk/>
          <pc:sldMk cId="117235350" sldId="865"/>
        </pc:sldMkLst>
      </pc:sldChg>
      <pc:sldChg chg="add del">
        <pc:chgData name="Bedel, Yanick Noah" userId="c0f86fc0-9b55-4d74-958a-ff514487524f" providerId="ADAL" clId="{5DCB94AE-F125-4388-AAC2-90396541D5B7}" dt="2025-07-09T16:32:52.104" v="12689" actId="47"/>
        <pc:sldMkLst>
          <pc:docMk/>
          <pc:sldMk cId="2085996341" sldId="865"/>
        </pc:sldMkLst>
      </pc:sldChg>
      <pc:sldChg chg="modSp add del mod">
        <pc:chgData name="Bedel, Yanick Noah" userId="c0f86fc0-9b55-4d74-958a-ff514487524f" providerId="ADAL" clId="{5DCB94AE-F125-4388-AAC2-90396541D5B7}" dt="2025-07-08T15:06:11.352" v="974" actId="47"/>
        <pc:sldMkLst>
          <pc:docMk/>
          <pc:sldMk cId="1855678732" sldId="866"/>
        </pc:sldMkLst>
      </pc:sldChg>
      <pc:sldChg chg="modSp add del mod ord">
        <pc:chgData name="Bedel, Yanick Noah" userId="c0f86fc0-9b55-4d74-958a-ff514487524f" providerId="ADAL" clId="{5DCB94AE-F125-4388-AAC2-90396541D5B7}" dt="2025-07-09T08:06:22.389" v="5701" actId="47"/>
        <pc:sldMkLst>
          <pc:docMk/>
          <pc:sldMk cId="2047718404" sldId="866"/>
        </pc:sldMkLst>
        <pc:spChg chg="mod">
          <ac:chgData name="Bedel, Yanick Noah" userId="c0f86fc0-9b55-4d74-958a-ff514487524f" providerId="ADAL" clId="{5DCB94AE-F125-4388-AAC2-90396541D5B7}" dt="2025-07-09T07:58:14.053" v="5446" actId="20577"/>
          <ac:spMkLst>
            <pc:docMk/>
            <pc:sldMk cId="2047718404" sldId="866"/>
            <ac:spMk id="6" creationId="{D505309E-D440-D0CA-7D09-C2FA5AFE78BC}"/>
          </ac:spMkLst>
        </pc:spChg>
      </pc:sldChg>
      <pc:sldChg chg="addSp delSp modSp add mod ord delAnim modAnim">
        <pc:chgData name="Bedel, Yanick Noah" userId="c0f86fc0-9b55-4d74-958a-ff514487524f" providerId="ADAL" clId="{5DCB94AE-F125-4388-AAC2-90396541D5B7}" dt="2025-07-09T16:04:25.447" v="11016" actId="20577"/>
        <pc:sldMkLst>
          <pc:docMk/>
          <pc:sldMk cId="1627690726" sldId="867"/>
        </pc:sldMkLst>
        <pc:spChg chg="mod">
          <ac:chgData name="Bedel, Yanick Noah" userId="c0f86fc0-9b55-4d74-958a-ff514487524f" providerId="ADAL" clId="{5DCB94AE-F125-4388-AAC2-90396541D5B7}" dt="2025-07-09T14:57:44.615" v="9384" actId="1076"/>
          <ac:spMkLst>
            <pc:docMk/>
            <pc:sldMk cId="1627690726" sldId="867"/>
            <ac:spMk id="2" creationId="{B0405E36-F30B-E5E5-8A7B-57BD0F38DBD8}"/>
          </ac:spMkLst>
        </pc:spChg>
        <pc:spChg chg="add 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3" creationId="{B86C0D38-198A-115D-CF22-F00462D21CB5}"/>
          </ac:spMkLst>
        </pc:spChg>
        <pc:spChg chg="mod">
          <ac:chgData name="Bedel, Yanick Noah" userId="c0f86fc0-9b55-4d74-958a-ff514487524f" providerId="ADAL" clId="{5DCB94AE-F125-4388-AAC2-90396541D5B7}" dt="2025-07-09T07:58:20.354" v="5447" actId="20577"/>
          <ac:spMkLst>
            <pc:docMk/>
            <pc:sldMk cId="1627690726" sldId="867"/>
            <ac:spMk id="6" creationId="{E58AEDC3-DF69-823D-1B7E-BB39A33F3113}"/>
          </ac:spMkLst>
        </pc:spChg>
        <pc:spChg chg="mod">
          <ac:chgData name="Bedel, Yanick Noah" userId="c0f86fc0-9b55-4d74-958a-ff514487524f" providerId="ADAL" clId="{5DCB94AE-F125-4388-AAC2-90396541D5B7}" dt="2025-07-09T14:59:45.115" v="9482" actId="255"/>
          <ac:spMkLst>
            <pc:docMk/>
            <pc:sldMk cId="1627690726" sldId="867"/>
            <ac:spMk id="7" creationId="{27C92BC4-DD48-615A-BC10-1AE4FFEA96A9}"/>
          </ac:spMkLst>
        </pc:spChg>
        <pc:spChg chg="add mod">
          <ac:chgData name="Bedel, Yanick Noah" userId="c0f86fc0-9b55-4d74-958a-ff514487524f" providerId="ADAL" clId="{5DCB94AE-F125-4388-AAC2-90396541D5B7}" dt="2025-07-09T16:04:25.447" v="11016" actId="20577"/>
          <ac:spMkLst>
            <pc:docMk/>
            <pc:sldMk cId="1627690726" sldId="867"/>
            <ac:spMk id="8" creationId="{E1796E34-F47A-2520-B585-66B623783947}"/>
          </ac:spMkLst>
        </pc:spChg>
        <pc:spChg chg="mod">
          <ac:chgData name="Bedel, Yanick Noah" userId="c0f86fc0-9b55-4d74-958a-ff514487524f" providerId="ADAL" clId="{5DCB94AE-F125-4388-AAC2-90396541D5B7}" dt="2025-07-09T14:57:02.980" v="9381" actId="20577"/>
          <ac:spMkLst>
            <pc:docMk/>
            <pc:sldMk cId="1627690726" sldId="867"/>
            <ac:spMk id="9" creationId="{0D5E9389-EFCC-DBD8-AAA6-5BC40455E80D}"/>
          </ac:spMkLst>
        </pc:spChg>
        <pc:spChg chg="add 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11" creationId="{EE4B4E6A-7139-0CB0-67A3-E43E71436D51}"/>
          </ac:spMkLst>
        </pc:spChg>
        <pc:spChg chg="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17" creationId="{EF36B2B2-AB94-D11F-A628-C1D52DD3AD70}"/>
          </ac:spMkLst>
        </pc:spChg>
        <pc:spChg chg="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19" creationId="{CC083BAE-B8E3-733C-5DC9-1713C0024CAD}"/>
          </ac:spMkLst>
        </pc:spChg>
        <pc:spChg chg="add del mod">
          <ac:chgData name="Bedel, Yanick Noah" userId="c0f86fc0-9b55-4d74-958a-ff514487524f" providerId="ADAL" clId="{5DCB94AE-F125-4388-AAC2-90396541D5B7}" dt="2025-07-09T14:55:21.434" v="9111" actId="478"/>
          <ac:spMkLst>
            <pc:docMk/>
            <pc:sldMk cId="1627690726" sldId="867"/>
            <ac:spMk id="24" creationId="{8E98C846-7984-ACE9-0B49-33D219E03951}"/>
          </ac:spMkLst>
        </pc:spChg>
        <pc:spChg chg="add del mod">
          <ac:chgData name="Bedel, Yanick Noah" userId="c0f86fc0-9b55-4d74-958a-ff514487524f" providerId="ADAL" clId="{5DCB94AE-F125-4388-AAC2-90396541D5B7}" dt="2025-07-09T14:55:21.434" v="9111" actId="478"/>
          <ac:spMkLst>
            <pc:docMk/>
            <pc:sldMk cId="1627690726" sldId="867"/>
            <ac:spMk id="25" creationId="{992A8366-CEE9-8BE6-EEA1-B0639E41B10C}"/>
          </ac:spMkLst>
        </pc:spChg>
        <pc:spChg chg="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27" creationId="{4D741C20-7F70-478E-9A18-C84D72BF4AC6}"/>
          </ac:spMkLst>
        </pc:spChg>
        <pc:spChg chg="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30" creationId="{C8727FC6-1FAE-AD61-037A-C053B5F07755}"/>
          </ac:spMkLst>
        </pc:spChg>
        <pc:spChg chg="mod">
          <ac:chgData name="Bedel, Yanick Noah" userId="c0f86fc0-9b55-4d74-958a-ff514487524f" providerId="ADAL" clId="{5DCB94AE-F125-4388-AAC2-90396541D5B7}" dt="2025-07-09T07:58:54.188" v="5449"/>
          <ac:spMkLst>
            <pc:docMk/>
            <pc:sldMk cId="1627690726" sldId="867"/>
            <ac:spMk id="33" creationId="{89E5BD6B-1043-807F-29BB-749E39D23554}"/>
          </ac:spMkLst>
        </pc:spChg>
        <pc:spChg chg="add mod">
          <ac:chgData name="Bedel, Yanick Noah" userId="c0f86fc0-9b55-4d74-958a-ff514487524f" providerId="ADAL" clId="{5DCB94AE-F125-4388-AAC2-90396541D5B7}" dt="2025-07-09T14:57:11.188" v="9382" actId="20577"/>
          <ac:spMkLst>
            <pc:docMk/>
            <pc:sldMk cId="1627690726" sldId="867"/>
            <ac:spMk id="35" creationId="{6D6C2F42-C9B4-D2C9-F367-DA17D08CFB38}"/>
          </ac:spMkLst>
        </pc:spChg>
      </pc:sldChg>
      <pc:sldChg chg="modSp add del mod">
        <pc:chgData name="Bedel, Yanick Noah" userId="c0f86fc0-9b55-4d74-958a-ff514487524f" providerId="ADAL" clId="{5DCB94AE-F125-4388-AAC2-90396541D5B7}" dt="2025-07-08T13:11:51.042" v="967" actId="47"/>
        <pc:sldMkLst>
          <pc:docMk/>
          <pc:sldMk cId="2115720164" sldId="867"/>
        </pc:sldMkLst>
      </pc:sldChg>
      <pc:sldChg chg="add del">
        <pc:chgData name="Bedel, Yanick Noah" userId="c0f86fc0-9b55-4d74-958a-ff514487524f" providerId="ADAL" clId="{5DCB94AE-F125-4388-AAC2-90396541D5B7}" dt="2025-07-08T15:06:11.550" v="975" actId="47"/>
        <pc:sldMkLst>
          <pc:docMk/>
          <pc:sldMk cId="210942892" sldId="868"/>
        </pc:sldMkLst>
      </pc:sldChg>
      <pc:sldChg chg="add del">
        <pc:chgData name="Bedel, Yanick Noah" userId="c0f86fc0-9b55-4d74-958a-ff514487524f" providerId="ADAL" clId="{5DCB94AE-F125-4388-AAC2-90396541D5B7}" dt="2025-07-09T16:32:53.069" v="12690" actId="47"/>
        <pc:sldMkLst>
          <pc:docMk/>
          <pc:sldMk cId="4191462425" sldId="868"/>
        </pc:sldMkLst>
      </pc:sldChg>
      <pc:sldChg chg="addSp modSp add del mod">
        <pc:chgData name="Bedel, Yanick Noah" userId="c0f86fc0-9b55-4d74-958a-ff514487524f" providerId="ADAL" clId="{5DCB94AE-F125-4388-AAC2-90396541D5B7}" dt="2025-07-08T22:06:30.274" v="4292" actId="47"/>
        <pc:sldMkLst>
          <pc:docMk/>
          <pc:sldMk cId="477796728" sldId="869"/>
        </pc:sldMkLst>
      </pc:sldChg>
      <pc:sldChg chg="modSp add del mod ord">
        <pc:chgData name="Bedel, Yanick Noah" userId="c0f86fc0-9b55-4d74-958a-ff514487524f" providerId="ADAL" clId="{5DCB94AE-F125-4388-AAC2-90396541D5B7}" dt="2025-07-08T15:06:11.749" v="976" actId="47"/>
        <pc:sldMkLst>
          <pc:docMk/>
          <pc:sldMk cId="3580421092" sldId="869"/>
        </pc:sldMkLst>
      </pc:sldChg>
      <pc:sldChg chg="modSp add del mod">
        <pc:chgData name="Bedel, Yanick Noah" userId="c0f86fc0-9b55-4d74-958a-ff514487524f" providerId="ADAL" clId="{5DCB94AE-F125-4388-AAC2-90396541D5B7}" dt="2025-07-08T15:06:11.959" v="977" actId="47"/>
        <pc:sldMkLst>
          <pc:docMk/>
          <pc:sldMk cId="124672889" sldId="870"/>
        </pc:sldMkLst>
      </pc:sldChg>
      <pc:sldChg chg="add del">
        <pc:chgData name="Bedel, Yanick Noah" userId="c0f86fc0-9b55-4d74-958a-ff514487524f" providerId="ADAL" clId="{5DCB94AE-F125-4388-AAC2-90396541D5B7}" dt="2025-07-08T21:34:48.981" v="3919" actId="47"/>
        <pc:sldMkLst>
          <pc:docMk/>
          <pc:sldMk cId="1498059874" sldId="870"/>
        </pc:sldMkLst>
      </pc:sldChg>
      <pc:sldChg chg="add del">
        <pc:chgData name="Bedel, Yanick Noah" userId="c0f86fc0-9b55-4d74-958a-ff514487524f" providerId="ADAL" clId="{5DCB94AE-F125-4388-AAC2-90396541D5B7}" dt="2025-07-08T20:31:01.848" v="1794" actId="47"/>
        <pc:sldMkLst>
          <pc:docMk/>
          <pc:sldMk cId="2839850771" sldId="870"/>
        </pc:sldMkLst>
      </pc:sldChg>
      <pc:sldChg chg="modSp add del mod">
        <pc:chgData name="Bedel, Yanick Noah" userId="c0f86fc0-9b55-4d74-958a-ff514487524f" providerId="ADAL" clId="{5DCB94AE-F125-4388-AAC2-90396541D5B7}" dt="2025-07-08T15:06:11.113" v="972" actId="47"/>
        <pc:sldMkLst>
          <pc:docMk/>
          <pc:sldMk cId="2821124201" sldId="871"/>
        </pc:sldMkLst>
      </pc:sldChg>
      <pc:sldChg chg="addSp delSp modSp add del mod">
        <pc:chgData name="Bedel, Yanick Noah" userId="c0f86fc0-9b55-4d74-958a-ff514487524f" providerId="ADAL" clId="{5DCB94AE-F125-4388-AAC2-90396541D5B7}" dt="2025-07-08T20:54:56.777" v="2615" actId="47"/>
        <pc:sldMkLst>
          <pc:docMk/>
          <pc:sldMk cId="3979222192" sldId="871"/>
        </pc:sldMkLst>
      </pc:sldChg>
      <pc:sldChg chg="addSp delSp modSp add del mod ord">
        <pc:chgData name="Bedel, Yanick Noah" userId="c0f86fc0-9b55-4d74-958a-ff514487524f" providerId="ADAL" clId="{5DCB94AE-F125-4388-AAC2-90396541D5B7}" dt="2025-07-08T20:55:11.399" v="2619" actId="47"/>
        <pc:sldMkLst>
          <pc:docMk/>
          <pc:sldMk cId="1293277818" sldId="872"/>
        </pc:sldMkLst>
      </pc:sldChg>
      <pc:sldChg chg="addSp delSp modSp add del mod modTransition delAnim modAnim">
        <pc:chgData name="Bedel, Yanick Noah" userId="c0f86fc0-9b55-4d74-958a-ff514487524f" providerId="ADAL" clId="{5DCB94AE-F125-4388-AAC2-90396541D5B7}" dt="2025-07-09T12:13:56.088" v="7562" actId="2696"/>
        <pc:sldMkLst>
          <pc:docMk/>
          <pc:sldMk cId="3956005911" sldId="873"/>
        </pc:sldMkLst>
        <pc:spChg chg="add mod">
          <ac:chgData name="Bedel, Yanick Noah" userId="c0f86fc0-9b55-4d74-958a-ff514487524f" providerId="ADAL" clId="{5DCB94AE-F125-4388-AAC2-90396541D5B7}" dt="2025-07-09T08:36:23.606" v="7339" actId="13926"/>
          <ac:spMkLst>
            <pc:docMk/>
            <pc:sldMk cId="3956005911" sldId="873"/>
            <ac:spMk id="2" creationId="{DAD8D7CD-05F3-4851-151A-C60A37BAF565}"/>
          </ac:spMkLst>
        </pc:spChg>
        <pc:spChg chg="add mod">
          <ac:chgData name="Bedel, Yanick Noah" userId="c0f86fc0-9b55-4d74-958a-ff514487524f" providerId="ADAL" clId="{5DCB94AE-F125-4388-AAC2-90396541D5B7}" dt="2025-07-09T08:37:46.490" v="7501"/>
          <ac:spMkLst>
            <pc:docMk/>
            <pc:sldMk cId="3956005911" sldId="873"/>
            <ac:spMk id="7" creationId="{2F33B56B-EFEB-596E-90BA-0D2D736D558C}"/>
          </ac:spMkLst>
        </pc:spChg>
        <pc:spChg chg="add del mod">
          <ac:chgData name="Bedel, Yanick Noah" userId="c0f86fc0-9b55-4d74-958a-ff514487524f" providerId="ADAL" clId="{5DCB94AE-F125-4388-AAC2-90396541D5B7}" dt="2025-07-09T06:59:07.016" v="4906" actId="478"/>
          <ac:spMkLst>
            <pc:docMk/>
            <pc:sldMk cId="3956005911" sldId="873"/>
            <ac:spMk id="58" creationId="{5471DB05-928F-5E39-4D9F-8C05FFD66BE8}"/>
          </ac:spMkLst>
        </pc:spChg>
        <pc:spChg chg="del">
          <ac:chgData name="Bedel, Yanick Noah" userId="c0f86fc0-9b55-4d74-958a-ff514487524f" providerId="ADAL" clId="{5DCB94AE-F125-4388-AAC2-90396541D5B7}" dt="2025-07-09T12:13:02.825" v="7557" actId="478"/>
          <ac:spMkLst>
            <pc:docMk/>
            <pc:sldMk cId="3956005911" sldId="873"/>
            <ac:spMk id="61" creationId="{FF5B878E-8AD3-71A2-2FA0-9A0930D26443}"/>
          </ac:spMkLst>
        </pc:spChg>
        <pc:spChg chg="mod">
          <ac:chgData name="Bedel, Yanick Noah" userId="c0f86fc0-9b55-4d74-958a-ff514487524f" providerId="ADAL" clId="{5DCB94AE-F125-4388-AAC2-90396541D5B7}" dt="2025-07-09T12:13:11.669" v="7561" actId="14100"/>
          <ac:spMkLst>
            <pc:docMk/>
            <pc:sldMk cId="3956005911" sldId="873"/>
            <ac:spMk id="62" creationId="{6DC1A0F6-2575-21F6-044C-BB2D55633150}"/>
          </ac:spMkLst>
        </pc:spChg>
        <pc:grpChg chg="del">
          <ac:chgData name="Bedel, Yanick Noah" userId="c0f86fc0-9b55-4d74-958a-ff514487524f" providerId="ADAL" clId="{5DCB94AE-F125-4388-AAC2-90396541D5B7}" dt="2025-07-09T12:13:05.136" v="7559" actId="478"/>
          <ac:grpSpMkLst>
            <pc:docMk/>
            <pc:sldMk cId="3956005911" sldId="873"/>
            <ac:grpSpMk id="63" creationId="{11016E53-0858-0BEA-DB28-339E6B277F44}"/>
          </ac:grpSpMkLst>
        </pc:grpChg>
        <pc:grpChg chg="del">
          <ac:chgData name="Bedel, Yanick Noah" userId="c0f86fc0-9b55-4d74-958a-ff514487524f" providerId="ADAL" clId="{5DCB94AE-F125-4388-AAC2-90396541D5B7}" dt="2025-07-09T12:13:04.161" v="7558" actId="478"/>
          <ac:grpSpMkLst>
            <pc:docMk/>
            <pc:sldMk cId="3956005911" sldId="873"/>
            <ac:grpSpMk id="74" creationId="{90963763-E543-E78A-F61E-B3D2710F9607}"/>
          </ac:grpSpMkLst>
        </pc:grpChg>
        <pc:picChg chg="add mod">
          <ac:chgData name="Bedel, Yanick Noah" userId="c0f86fc0-9b55-4d74-958a-ff514487524f" providerId="ADAL" clId="{5DCB94AE-F125-4388-AAC2-90396541D5B7}" dt="2025-07-09T12:12:58.930" v="7556" actId="1076"/>
          <ac:picMkLst>
            <pc:docMk/>
            <pc:sldMk cId="3956005911" sldId="873"/>
            <ac:picMk id="9" creationId="{9A23CCC7-C652-EB03-2D73-62782045FE48}"/>
          </ac:picMkLst>
        </pc:picChg>
        <pc:cxnChg chg="del">
          <ac:chgData name="Bedel, Yanick Noah" userId="c0f86fc0-9b55-4d74-958a-ff514487524f" providerId="ADAL" clId="{5DCB94AE-F125-4388-AAC2-90396541D5B7}" dt="2025-07-09T12:13:06.284" v="7560" actId="478"/>
          <ac:cxnSpMkLst>
            <pc:docMk/>
            <pc:sldMk cId="3956005911" sldId="873"/>
            <ac:cxnSpMk id="60" creationId="{5CE92419-E5F5-49A3-3D69-CA14D69F3D62}"/>
          </ac:cxnSpMkLst>
        </pc:cxnChg>
      </pc:sldChg>
      <pc:sldChg chg="addSp delSp modSp add del mod modShow">
        <pc:chgData name="Bedel, Yanick Noah" userId="c0f86fc0-9b55-4d74-958a-ff514487524f" providerId="ADAL" clId="{5DCB94AE-F125-4388-AAC2-90396541D5B7}" dt="2025-07-08T21:34:14.564" v="3914" actId="47"/>
        <pc:sldMkLst>
          <pc:docMk/>
          <pc:sldMk cId="3580334058" sldId="874"/>
        </pc:sldMkLst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0:56.355" v="9684"/>
        <pc:sldMkLst>
          <pc:docMk/>
          <pc:sldMk cId="1710046366" sldId="875"/>
        </pc:sldMkLst>
        <pc:spChg chg="add del mod">
          <ac:chgData name="Bedel, Yanick Noah" userId="c0f86fc0-9b55-4d74-958a-ff514487524f" providerId="ADAL" clId="{5DCB94AE-F125-4388-AAC2-90396541D5B7}" dt="2025-07-09T13:05:06.251" v="7834" actId="478"/>
          <ac:spMkLst>
            <pc:docMk/>
            <pc:sldMk cId="1710046366" sldId="875"/>
            <ac:spMk id="2" creationId="{BD39AB4C-5EAC-AC90-B70B-9038439C98F0}"/>
          </ac:spMkLst>
        </pc:spChg>
        <pc:spChg chg="mod">
          <ac:chgData name="Bedel, Yanick Noah" userId="c0f86fc0-9b55-4d74-958a-ff514487524f" providerId="ADAL" clId="{5DCB94AE-F125-4388-AAC2-90396541D5B7}" dt="2025-07-08T22:07:15.553" v="4297" actId="20577"/>
          <ac:spMkLst>
            <pc:docMk/>
            <pc:sldMk cId="1710046366" sldId="875"/>
            <ac:spMk id="6" creationId="{B5960F93-C7F8-2F03-4414-40551D48FC05}"/>
          </ac:spMkLst>
        </pc:spChg>
        <pc:spChg chg="add del mod">
          <ac:chgData name="Bedel, Yanick Noah" userId="c0f86fc0-9b55-4d74-958a-ff514487524f" providerId="ADAL" clId="{5DCB94AE-F125-4388-AAC2-90396541D5B7}" dt="2025-07-09T13:05:31.458" v="7844" actId="478"/>
          <ac:spMkLst>
            <pc:docMk/>
            <pc:sldMk cId="1710046366" sldId="875"/>
            <ac:spMk id="7" creationId="{FEE0E42C-115E-0FB9-4F04-BA917AB2AA13}"/>
          </ac:spMkLst>
        </pc:spChg>
        <pc:spChg chg="add 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9" creationId="{CB2D5487-2097-CDF3-7600-3F390AC7FAB7}"/>
          </ac:spMkLst>
        </pc:spChg>
        <pc:spChg chg="add 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10" creationId="{6924F9AF-2080-089C-7BDC-478AE5EF2BFC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14" creationId="{264CF030-3458-FEFB-21E7-A8B6F89A5187}"/>
          </ac:spMkLst>
        </pc:spChg>
        <pc:spChg chg="mod topLvl">
          <ac:chgData name="Bedel, Yanick Noah" userId="c0f86fc0-9b55-4d74-958a-ff514487524f" providerId="ADAL" clId="{5DCB94AE-F125-4388-AAC2-90396541D5B7}" dt="2025-07-08T21:19:02.852" v="3792" actId="14100"/>
          <ac:spMkLst>
            <pc:docMk/>
            <pc:sldMk cId="1710046366" sldId="875"/>
            <ac:spMk id="16" creationId="{1C18A1CE-9F57-85A3-0CF2-C2BDDB7AC394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17" creationId="{30BC89D7-52B3-076F-8CD2-DCF328A48A9B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19" creationId="{E9432983-3742-6C93-50AF-8AE902E629AB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20" creationId="{69F21669-8269-DDEE-3854-F2273CE78904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21" creationId="{91B886A7-7F5A-2425-C5CF-05A8DD44D2A7}"/>
          </ac:spMkLst>
        </pc:spChg>
        <pc:spChg chg="mod">
          <ac:chgData name="Bedel, Yanick Noah" userId="c0f86fc0-9b55-4d74-958a-ff514487524f" providerId="ADAL" clId="{5DCB94AE-F125-4388-AAC2-90396541D5B7}" dt="2025-07-08T21:18:57.935" v="3791" actId="14100"/>
          <ac:spMkLst>
            <pc:docMk/>
            <pc:sldMk cId="1710046366" sldId="875"/>
            <ac:spMk id="22" creationId="{E884FF27-3DA7-370A-1C5C-FD52501C2CD4}"/>
          </ac:spMkLst>
        </pc:spChg>
        <pc:spChg chg="mod">
          <ac:chgData name="Bedel, Yanick Noah" userId="c0f86fc0-9b55-4d74-958a-ff514487524f" providerId="ADAL" clId="{5DCB94AE-F125-4388-AAC2-90396541D5B7}" dt="2025-07-08T21:00:30.145" v="2847" actId="122"/>
          <ac:spMkLst>
            <pc:docMk/>
            <pc:sldMk cId="1710046366" sldId="875"/>
            <ac:spMk id="23" creationId="{DDEE59C7-7CD5-01A6-2B95-BB69EF5C45F6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24" creationId="{0353844D-A3DB-F981-27F0-F68D77BDEF17}"/>
          </ac:spMkLst>
        </pc:spChg>
        <pc:spChg chg="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25" creationId="{D776BB0B-E4FA-35A1-92CD-CD0BDB0C409F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26" creationId="{EB7CF6EC-016E-27EF-DD05-C468982835A5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27" creationId="{3B76FA25-E5FE-BC6E-4F61-C59F44A90823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28" creationId="{1F4C0DC9-B4BA-1E83-9CA0-7E12BDDA3942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29" creationId="{7B7D6099-9BBE-55BC-4488-CCFA6A08340A}"/>
          </ac:spMkLst>
        </pc:spChg>
        <pc:spChg chg="mod topLvl">
          <ac:chgData name="Bedel, Yanick Noah" userId="c0f86fc0-9b55-4d74-958a-ff514487524f" providerId="ADAL" clId="{5DCB94AE-F125-4388-AAC2-90396541D5B7}" dt="2025-07-08T21:44:16.951" v="4044" actId="208"/>
          <ac:spMkLst>
            <pc:docMk/>
            <pc:sldMk cId="1710046366" sldId="875"/>
            <ac:spMk id="30" creationId="{53E52E99-77AC-6F92-F856-22BDF2AC517E}"/>
          </ac:spMkLst>
        </pc:spChg>
        <pc:spChg chg="add mod">
          <ac:chgData name="Bedel, Yanick Noah" userId="c0f86fc0-9b55-4d74-958a-ff514487524f" providerId="ADAL" clId="{5DCB94AE-F125-4388-AAC2-90396541D5B7}" dt="2025-07-09T13:06:39.789" v="7862"/>
          <ac:spMkLst>
            <pc:docMk/>
            <pc:sldMk cId="1710046366" sldId="875"/>
            <ac:spMk id="31" creationId="{99D36D87-360A-9679-12E8-4207FF23C0AC}"/>
          </ac:spMkLst>
        </pc:spChg>
        <pc:spChg chg="mod topLvl">
          <ac:chgData name="Bedel, Yanick Noah" userId="c0f86fc0-9b55-4d74-958a-ff514487524f" providerId="ADAL" clId="{5DCB94AE-F125-4388-AAC2-90396541D5B7}" dt="2025-07-09T13:12:26.155" v="7895" actId="164"/>
          <ac:spMkLst>
            <pc:docMk/>
            <pc:sldMk cId="1710046366" sldId="875"/>
            <ac:spMk id="33" creationId="{0DF9361A-08B4-42C6-E7A5-E905BC309C35}"/>
          </ac:spMkLst>
        </pc:spChg>
        <pc:spChg chg="del">
          <ac:chgData name="Bedel, Yanick Noah" userId="c0f86fc0-9b55-4d74-958a-ff514487524f" providerId="ADAL" clId="{5DCB94AE-F125-4388-AAC2-90396541D5B7}" dt="2025-07-09T06:59:02.666" v="4905" actId="478"/>
          <ac:spMkLst>
            <pc:docMk/>
            <pc:sldMk cId="1710046366" sldId="875"/>
            <ac:spMk id="50" creationId="{EB305C6C-4A3C-BD4C-1E01-BE653F597757}"/>
          </ac:spMkLst>
        </pc:spChg>
        <pc:spChg chg="add del mod">
          <ac:chgData name="Bedel, Yanick Noah" userId="c0f86fc0-9b55-4d74-958a-ff514487524f" providerId="ADAL" clId="{5DCB94AE-F125-4388-AAC2-90396541D5B7}" dt="2025-07-09T13:05:06.251" v="7834" actId="478"/>
          <ac:spMkLst>
            <pc:docMk/>
            <pc:sldMk cId="1710046366" sldId="875"/>
            <ac:spMk id="53" creationId="{FFEECD8E-3B1B-C062-3EC2-C893D12FE282}"/>
          </ac:spMkLst>
        </pc:spChg>
        <pc:spChg chg="del">
          <ac:chgData name="Bedel, Yanick Noah" userId="c0f86fc0-9b55-4d74-958a-ff514487524f" providerId="ADAL" clId="{5DCB94AE-F125-4388-AAC2-90396541D5B7}" dt="2025-07-09T13:05:06.251" v="7834" actId="478"/>
          <ac:spMkLst>
            <pc:docMk/>
            <pc:sldMk cId="1710046366" sldId="875"/>
            <ac:spMk id="54" creationId="{D26EE10B-C4B8-28C9-A738-92B1754DE5D0}"/>
          </ac:spMkLst>
        </pc:spChg>
        <pc:grpChg chg="del">
          <ac:chgData name="Bedel, Yanick Noah" userId="c0f86fc0-9b55-4d74-958a-ff514487524f" providerId="ADAL" clId="{5DCB94AE-F125-4388-AAC2-90396541D5B7}" dt="2025-07-09T13:11:47.407" v="7891" actId="478"/>
          <ac:grpSpMkLst>
            <pc:docMk/>
            <pc:sldMk cId="1710046366" sldId="875"/>
            <ac:grpSpMk id="32" creationId="{577E81B6-E144-BC99-B28F-D0361103CA49}"/>
          </ac:grpSpMkLst>
        </pc:grpChg>
        <pc:grpChg chg="add mod">
          <ac:chgData name="Bedel, Yanick Noah" userId="c0f86fc0-9b55-4d74-958a-ff514487524f" providerId="ADAL" clId="{5DCB94AE-F125-4388-AAC2-90396541D5B7}" dt="2025-07-09T13:12:26.155" v="7895" actId="164"/>
          <ac:grpSpMkLst>
            <pc:docMk/>
            <pc:sldMk cId="1710046366" sldId="875"/>
            <ac:grpSpMk id="37" creationId="{746CA81A-FD2B-FCDA-AC2C-DC45305E0800}"/>
          </ac:grpSpMkLst>
        </pc:grpChg>
        <pc:grpChg chg="del">
          <ac:chgData name="Bedel, Yanick Noah" userId="c0f86fc0-9b55-4d74-958a-ff514487524f" providerId="ADAL" clId="{5DCB94AE-F125-4388-AAC2-90396541D5B7}" dt="2025-07-09T12:45:02.672" v="7565" actId="478"/>
          <ac:grpSpMkLst>
            <pc:docMk/>
            <pc:sldMk cId="1710046366" sldId="875"/>
            <ac:grpSpMk id="55" creationId="{66CA01AA-A516-325F-FD1D-100AA8AC02AA}"/>
          </ac:grpSpMkLst>
        </pc:grpChg>
        <pc:grpChg chg="del">
          <ac:chgData name="Bedel, Yanick Noah" userId="c0f86fc0-9b55-4d74-958a-ff514487524f" providerId="ADAL" clId="{5DCB94AE-F125-4388-AAC2-90396541D5B7}" dt="2025-07-09T13:05:06.251" v="7834" actId="478"/>
          <ac:grpSpMkLst>
            <pc:docMk/>
            <pc:sldMk cId="1710046366" sldId="875"/>
            <ac:grpSpMk id="66" creationId="{2C36B64E-DA3D-2FF5-61A1-5FDBD5540195}"/>
          </ac:grpSpMkLst>
        </pc:grpChg>
        <pc:picChg chg="del topLvl">
          <ac:chgData name="Bedel, Yanick Noah" userId="c0f86fc0-9b55-4d74-958a-ff514487524f" providerId="ADAL" clId="{5DCB94AE-F125-4388-AAC2-90396541D5B7}" dt="2025-07-09T13:11:47.407" v="7891" actId="478"/>
          <ac:picMkLst>
            <pc:docMk/>
            <pc:sldMk cId="1710046366" sldId="875"/>
            <ac:picMk id="34" creationId="{12A29DD5-09AD-87E7-9EC4-87A5ECF6960F}"/>
          </ac:picMkLst>
        </pc:picChg>
        <pc:picChg chg="add mod">
          <ac:chgData name="Bedel, Yanick Noah" userId="c0f86fc0-9b55-4d74-958a-ff514487524f" providerId="ADAL" clId="{5DCB94AE-F125-4388-AAC2-90396541D5B7}" dt="2025-07-09T13:12:26.155" v="7895" actId="164"/>
          <ac:picMkLst>
            <pc:docMk/>
            <pc:sldMk cId="1710046366" sldId="875"/>
            <ac:picMk id="36" creationId="{56FFFFEE-D67A-8CC6-93C4-1B80636C5D72}"/>
          </ac:picMkLst>
        </pc:picChg>
        <pc:cxnChg chg="del">
          <ac:chgData name="Bedel, Yanick Noah" userId="c0f86fc0-9b55-4d74-958a-ff514487524f" providerId="ADAL" clId="{5DCB94AE-F125-4388-AAC2-90396541D5B7}" dt="2025-07-09T13:05:06.251" v="7834" actId="478"/>
          <ac:cxnSpMkLst>
            <pc:docMk/>
            <pc:sldMk cId="1710046366" sldId="875"/>
            <ac:cxnSpMk id="52" creationId="{4829BFDA-A22A-6826-0FBC-CF8273495821}"/>
          </ac:cxnSpMkLst>
        </pc:cxnChg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1:04.101" v="9685"/>
        <pc:sldMkLst>
          <pc:docMk/>
          <pc:sldMk cId="3633799377" sldId="876"/>
        </pc:sldMkLst>
        <pc:spChg chg="add del mod">
          <ac:chgData name="Bedel, Yanick Noah" userId="c0f86fc0-9b55-4d74-958a-ff514487524f" providerId="ADAL" clId="{5DCB94AE-F125-4388-AAC2-90396541D5B7}" dt="2025-07-09T13:05:14.507" v="7839" actId="478"/>
          <ac:spMkLst>
            <pc:docMk/>
            <pc:sldMk cId="3633799377" sldId="876"/>
            <ac:spMk id="2" creationId="{BC2D1591-09D1-DEDF-24B7-A99DEC1F4AEF}"/>
          </ac:spMkLst>
        </pc:spChg>
        <pc:spChg chg="mod">
          <ac:chgData name="Bedel, Yanick Noah" userId="c0f86fc0-9b55-4d74-958a-ff514487524f" providerId="ADAL" clId="{5DCB94AE-F125-4388-AAC2-90396541D5B7}" dt="2025-07-08T22:00:49.892" v="4257" actId="1076"/>
          <ac:spMkLst>
            <pc:docMk/>
            <pc:sldMk cId="3633799377" sldId="876"/>
            <ac:spMk id="3" creationId="{A47E4833-A87C-F822-A62B-F55451C9B242}"/>
          </ac:spMkLst>
        </pc:spChg>
        <pc:spChg chg="mod">
          <ac:chgData name="Bedel, Yanick Noah" userId="c0f86fc0-9b55-4d74-958a-ff514487524f" providerId="ADAL" clId="{5DCB94AE-F125-4388-AAC2-90396541D5B7}" dt="2025-07-08T22:07:20.758" v="4299" actId="20577"/>
          <ac:spMkLst>
            <pc:docMk/>
            <pc:sldMk cId="3633799377" sldId="876"/>
            <ac:spMk id="6" creationId="{6C41603F-9996-700F-DCD0-567B2077C2B4}"/>
          </ac:spMkLst>
        </pc:spChg>
        <pc:spChg chg="add del mod">
          <ac:chgData name="Bedel, Yanick Noah" userId="c0f86fc0-9b55-4d74-958a-ff514487524f" providerId="ADAL" clId="{5DCB94AE-F125-4388-AAC2-90396541D5B7}" dt="2025-07-09T13:05:17.229" v="7840" actId="478"/>
          <ac:spMkLst>
            <pc:docMk/>
            <pc:sldMk cId="3633799377" sldId="876"/>
            <ac:spMk id="7" creationId="{4C5E5BD4-EA8F-9F3C-4E96-F9480D0544FB}"/>
          </ac:spMkLst>
        </pc:spChg>
        <pc:spChg chg="add 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9" creationId="{3E630382-92B3-DD06-ADA7-99655284D653}"/>
          </ac:spMkLst>
        </pc:spChg>
        <pc:spChg chg="add 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10" creationId="{09A61D79-7775-A6BB-D476-AF8FE2750B43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14" creationId="{77EC6A79-4AB4-2E2B-F542-0C21773B3D50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16" creationId="{138FF025-EA97-321E-6CAF-BEF8AD259D01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17" creationId="{D0FE05BA-28EA-CF10-24C4-184CC4AB4E89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19" creationId="{034222EA-09D1-0B41-3E0A-F7993CDE4D91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20" creationId="{B0D6D491-91EC-26C4-83A2-BC491C875D5B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21" creationId="{6AA72A7E-9F4F-10FC-BD4B-18B5737285BD}"/>
          </ac:spMkLst>
        </pc:spChg>
        <pc:spChg chg="mod">
          <ac:chgData name="Bedel, Yanick Noah" userId="c0f86fc0-9b55-4d74-958a-ff514487524f" providerId="ADAL" clId="{5DCB94AE-F125-4388-AAC2-90396541D5B7}" dt="2025-07-08T21:15:07.075" v="3446" actId="20577"/>
          <ac:spMkLst>
            <pc:docMk/>
            <pc:sldMk cId="3633799377" sldId="876"/>
            <ac:spMk id="22" creationId="{C0295984-F884-64D5-7A81-CAACED708C7E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24" creationId="{EDD1D37E-DA82-A78D-3749-7E4AB17D993F}"/>
          </ac:spMkLst>
        </pc:spChg>
        <pc:spChg chg="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25" creationId="{67BF9FCF-05B5-DD41-04AF-2179DAF8B65C}"/>
          </ac:spMkLst>
        </pc:spChg>
        <pc:spChg chg="mod topLvl">
          <ac:chgData name="Bedel, Yanick Noah" userId="c0f86fc0-9b55-4d74-958a-ff514487524f" providerId="ADAL" clId="{5DCB94AE-F125-4388-AAC2-90396541D5B7}" dt="2025-07-08T21:10:38.155" v="3010" actId="14100"/>
          <ac:spMkLst>
            <pc:docMk/>
            <pc:sldMk cId="3633799377" sldId="876"/>
            <ac:spMk id="26" creationId="{824F601C-FF88-15BA-3F3F-FBDC8CC458E0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27" creationId="{C5F8E631-73C6-DBA5-5F2B-4A7A6541846A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28" creationId="{56933DC3-857D-BD45-6E89-74D70EE3EE56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29" creationId="{E12FDDB5-0D56-A559-6DE9-371AFA1C5609}"/>
          </ac:spMkLst>
        </pc:spChg>
        <pc:spChg chg="mod topLvl">
          <ac:chgData name="Bedel, Yanick Noah" userId="c0f86fc0-9b55-4d74-958a-ff514487524f" providerId="ADAL" clId="{5DCB94AE-F125-4388-AAC2-90396541D5B7}" dt="2025-07-08T21:44:32.930" v="4049" actId="208"/>
          <ac:spMkLst>
            <pc:docMk/>
            <pc:sldMk cId="3633799377" sldId="876"/>
            <ac:spMk id="30" creationId="{7FD99CA3-AF03-16F7-E692-AB45A53CF98A}"/>
          </ac:spMkLst>
        </pc:spChg>
        <pc:spChg chg="add mod">
          <ac:chgData name="Bedel, Yanick Noah" userId="c0f86fc0-9b55-4d74-958a-ff514487524f" providerId="ADAL" clId="{5DCB94AE-F125-4388-AAC2-90396541D5B7}" dt="2025-07-09T13:06:41.706" v="7863"/>
          <ac:spMkLst>
            <pc:docMk/>
            <pc:sldMk cId="3633799377" sldId="876"/>
            <ac:spMk id="31" creationId="{34714593-E20A-3EC9-3DC1-46E50835B1A1}"/>
          </ac:spMkLst>
        </pc:spChg>
        <pc:spChg chg="mod topLvl">
          <ac:chgData name="Bedel, Yanick Noah" userId="c0f86fc0-9b55-4d74-958a-ff514487524f" providerId="ADAL" clId="{5DCB94AE-F125-4388-AAC2-90396541D5B7}" dt="2025-07-09T13:15:35.204" v="7942" actId="164"/>
          <ac:spMkLst>
            <pc:docMk/>
            <pc:sldMk cId="3633799377" sldId="876"/>
            <ac:spMk id="33" creationId="{A7A648B8-3BB8-AF91-AF56-58B17C0989FD}"/>
          </ac:spMkLst>
        </pc:spChg>
        <pc:spChg chg="del">
          <ac:chgData name="Bedel, Yanick Noah" userId="c0f86fc0-9b55-4d74-958a-ff514487524f" providerId="ADAL" clId="{5DCB94AE-F125-4388-AAC2-90396541D5B7}" dt="2025-07-09T06:58:57.063" v="4904" actId="478"/>
          <ac:spMkLst>
            <pc:docMk/>
            <pc:sldMk cId="3633799377" sldId="876"/>
            <ac:spMk id="50" creationId="{7763EF1D-A152-2903-C8AB-9B93F2642DBB}"/>
          </ac:spMkLst>
        </pc:spChg>
        <pc:spChg chg="add del mod">
          <ac:chgData name="Bedel, Yanick Noah" userId="c0f86fc0-9b55-4d74-958a-ff514487524f" providerId="ADAL" clId="{5DCB94AE-F125-4388-AAC2-90396541D5B7}" dt="2025-07-09T13:05:09.963" v="7835" actId="478"/>
          <ac:spMkLst>
            <pc:docMk/>
            <pc:sldMk cId="3633799377" sldId="876"/>
            <ac:spMk id="53" creationId="{EDFB19DF-CF9C-7D8C-83D6-A795CD745C23}"/>
          </ac:spMkLst>
        </pc:spChg>
        <pc:spChg chg="del">
          <ac:chgData name="Bedel, Yanick Noah" userId="c0f86fc0-9b55-4d74-958a-ff514487524f" providerId="ADAL" clId="{5DCB94AE-F125-4388-AAC2-90396541D5B7}" dt="2025-07-09T13:05:13.448" v="7838" actId="478"/>
          <ac:spMkLst>
            <pc:docMk/>
            <pc:sldMk cId="3633799377" sldId="876"/>
            <ac:spMk id="54" creationId="{CFE49087-D281-BF33-3D21-9669D586BACF}"/>
          </ac:spMkLst>
        </pc:spChg>
        <pc:grpChg chg="del">
          <ac:chgData name="Bedel, Yanick Noah" userId="c0f86fc0-9b55-4d74-958a-ff514487524f" providerId="ADAL" clId="{5DCB94AE-F125-4388-AAC2-90396541D5B7}" dt="2025-07-09T13:12:36.168" v="7896" actId="478"/>
          <ac:grpSpMkLst>
            <pc:docMk/>
            <pc:sldMk cId="3633799377" sldId="876"/>
            <ac:grpSpMk id="32" creationId="{3146526A-10D6-AC78-D081-DDEEE611BDA9}"/>
          </ac:grpSpMkLst>
        </pc:grpChg>
        <pc:grpChg chg="add mod">
          <ac:chgData name="Bedel, Yanick Noah" userId="c0f86fc0-9b55-4d74-958a-ff514487524f" providerId="ADAL" clId="{5DCB94AE-F125-4388-AAC2-90396541D5B7}" dt="2025-07-09T13:15:35.204" v="7942" actId="164"/>
          <ac:grpSpMkLst>
            <pc:docMk/>
            <pc:sldMk cId="3633799377" sldId="876"/>
            <ac:grpSpMk id="37" creationId="{2F78E59F-BB30-1C10-C476-FC0B02A2D430}"/>
          </ac:grpSpMkLst>
        </pc:grpChg>
        <pc:grpChg chg="del">
          <ac:chgData name="Bedel, Yanick Noah" userId="c0f86fc0-9b55-4d74-958a-ff514487524f" providerId="ADAL" clId="{5DCB94AE-F125-4388-AAC2-90396541D5B7}" dt="2025-07-09T12:45:05.602" v="7566" actId="478"/>
          <ac:grpSpMkLst>
            <pc:docMk/>
            <pc:sldMk cId="3633799377" sldId="876"/>
            <ac:grpSpMk id="55" creationId="{97B6176A-CE78-FEDB-771B-9181E169F07F}"/>
          </ac:grpSpMkLst>
        </pc:grpChg>
        <pc:grpChg chg="del">
          <ac:chgData name="Bedel, Yanick Noah" userId="c0f86fc0-9b55-4d74-958a-ff514487524f" providerId="ADAL" clId="{5DCB94AE-F125-4388-AAC2-90396541D5B7}" dt="2025-07-09T13:05:11.366" v="7836" actId="478"/>
          <ac:grpSpMkLst>
            <pc:docMk/>
            <pc:sldMk cId="3633799377" sldId="876"/>
            <ac:grpSpMk id="66" creationId="{7E61EAD2-137D-EC2B-A1D6-37BCBA3C6B10}"/>
          </ac:grpSpMkLst>
        </pc:grpChg>
        <pc:picChg chg="del topLvl">
          <ac:chgData name="Bedel, Yanick Noah" userId="c0f86fc0-9b55-4d74-958a-ff514487524f" providerId="ADAL" clId="{5DCB94AE-F125-4388-AAC2-90396541D5B7}" dt="2025-07-09T13:12:36.168" v="7896" actId="478"/>
          <ac:picMkLst>
            <pc:docMk/>
            <pc:sldMk cId="3633799377" sldId="876"/>
            <ac:picMk id="34" creationId="{FDAF4A4F-7745-E204-D92B-A4CA3DECBE6A}"/>
          </ac:picMkLst>
        </pc:picChg>
        <pc:picChg chg="add mod">
          <ac:chgData name="Bedel, Yanick Noah" userId="c0f86fc0-9b55-4d74-958a-ff514487524f" providerId="ADAL" clId="{5DCB94AE-F125-4388-AAC2-90396541D5B7}" dt="2025-07-09T13:15:35.204" v="7942" actId="164"/>
          <ac:picMkLst>
            <pc:docMk/>
            <pc:sldMk cId="3633799377" sldId="876"/>
            <ac:picMk id="36" creationId="{B4A67B47-ACB9-B8A9-DD68-C10409CCDF09}"/>
          </ac:picMkLst>
        </pc:picChg>
        <pc:cxnChg chg="del">
          <ac:chgData name="Bedel, Yanick Noah" userId="c0f86fc0-9b55-4d74-958a-ff514487524f" providerId="ADAL" clId="{5DCB94AE-F125-4388-AAC2-90396541D5B7}" dt="2025-07-09T13:05:12.367" v="7837" actId="478"/>
          <ac:cxnSpMkLst>
            <pc:docMk/>
            <pc:sldMk cId="3633799377" sldId="876"/>
            <ac:cxnSpMk id="52" creationId="{E636F71B-5E18-56EE-EFE9-9E919B30F5C0}"/>
          </ac:cxnSpMkLst>
        </pc:cxnChg>
      </pc:sldChg>
      <pc:sldChg chg="add del">
        <pc:chgData name="Bedel, Yanick Noah" userId="c0f86fc0-9b55-4d74-958a-ff514487524f" providerId="ADAL" clId="{5DCB94AE-F125-4388-AAC2-90396541D5B7}" dt="2025-07-08T21:00:16.949" v="2840" actId="47"/>
        <pc:sldMkLst>
          <pc:docMk/>
          <pc:sldMk cId="3798224930" sldId="876"/>
        </pc:sldMkLst>
      </pc:sldChg>
      <pc:sldChg chg="add del">
        <pc:chgData name="Bedel, Yanick Noah" userId="c0f86fc0-9b55-4d74-958a-ff514487524f" providerId="ADAL" clId="{5DCB94AE-F125-4388-AAC2-90396541D5B7}" dt="2025-07-08T21:00:19.057" v="2841" actId="47"/>
        <pc:sldMkLst>
          <pc:docMk/>
          <pc:sldMk cId="515371724" sldId="877"/>
        </pc:sldMkLst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1:19.583" v="9686"/>
        <pc:sldMkLst>
          <pc:docMk/>
          <pc:sldMk cId="2576826660" sldId="877"/>
        </pc:sldMkLst>
        <pc:spChg chg="add del mod">
          <ac:chgData name="Bedel, Yanick Noah" userId="c0f86fc0-9b55-4d74-958a-ff514487524f" providerId="ADAL" clId="{5DCB94AE-F125-4388-AAC2-90396541D5B7}" dt="2025-07-09T13:05:26.664" v="7842" actId="478"/>
          <ac:spMkLst>
            <pc:docMk/>
            <pc:sldMk cId="2576826660" sldId="877"/>
            <ac:spMk id="2" creationId="{E4F95B0C-5E11-AC2C-BC55-BA1C8FE0760D}"/>
          </ac:spMkLst>
        </pc:spChg>
        <pc:spChg chg="mod">
          <ac:chgData name="Bedel, Yanick Noah" userId="c0f86fc0-9b55-4d74-958a-ff514487524f" providerId="ADAL" clId="{5DCB94AE-F125-4388-AAC2-90396541D5B7}" dt="2025-07-08T22:07:24.891" v="4301" actId="20577"/>
          <ac:spMkLst>
            <pc:docMk/>
            <pc:sldMk cId="2576826660" sldId="877"/>
            <ac:spMk id="6" creationId="{9946166D-A6E4-9719-1DC8-39A7645E5CFE}"/>
          </ac:spMkLst>
        </pc:spChg>
        <pc:spChg chg="add del mod">
          <ac:chgData name="Bedel, Yanick Noah" userId="c0f86fc0-9b55-4d74-958a-ff514487524f" providerId="ADAL" clId="{5DCB94AE-F125-4388-AAC2-90396541D5B7}" dt="2025-07-09T13:05:28.819" v="7843" actId="478"/>
          <ac:spMkLst>
            <pc:docMk/>
            <pc:sldMk cId="2576826660" sldId="877"/>
            <ac:spMk id="7" creationId="{D6FDB629-A874-1F59-3A81-74BF6730223F}"/>
          </ac:spMkLst>
        </pc:spChg>
        <pc:spChg chg="add 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9" creationId="{6877C1DA-651D-6AAF-E8BE-8FC4E06621D4}"/>
          </ac:spMkLst>
        </pc:spChg>
        <pc:spChg chg="add 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10" creationId="{79525932-6427-3A3D-5224-858B98A97A94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14" creationId="{23B15844-28AE-5BC0-A8B2-381574F85D64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16" creationId="{270B9F13-18C7-C574-8212-C2CEA036F675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17" creationId="{2FE8FE9E-595E-9AFF-A24D-DF7898A06E1D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19" creationId="{B34078F3-6504-C135-1167-B86424B48E03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20" creationId="{0FD7ACDA-DE77-048F-64BA-A96F88B2F48B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21" creationId="{F70AEE80-FCFF-9132-3493-CEFB7E11DA35}"/>
          </ac:spMkLst>
        </pc:spChg>
        <pc:spChg chg="mod">
          <ac:chgData name="Bedel, Yanick Noah" userId="c0f86fc0-9b55-4d74-958a-ff514487524f" providerId="ADAL" clId="{5DCB94AE-F125-4388-AAC2-90396541D5B7}" dt="2025-07-08T21:11:58.624" v="3098" actId="14100"/>
          <ac:spMkLst>
            <pc:docMk/>
            <pc:sldMk cId="2576826660" sldId="877"/>
            <ac:spMk id="22" creationId="{C3A90EC5-1571-B4B0-6DBC-8C4245B4D3D9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24" creationId="{C163A7E4-7877-81BB-CD61-DE5B4B2EFBBB}"/>
          </ac:spMkLst>
        </pc:spChg>
        <pc:spChg chg="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25" creationId="{A0272343-CB56-7D32-647D-62B9EDA3288E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26" creationId="{E4C6AE4F-F108-602C-7F29-9984D6BDCE8B}"/>
          </ac:spMkLst>
        </pc:spChg>
        <pc:spChg chg="mod topLvl">
          <ac:chgData name="Bedel, Yanick Noah" userId="c0f86fc0-9b55-4d74-958a-ff514487524f" providerId="ADAL" clId="{5DCB94AE-F125-4388-AAC2-90396541D5B7}" dt="2025-07-08T21:12:22.171" v="3123" actId="14100"/>
          <ac:spMkLst>
            <pc:docMk/>
            <pc:sldMk cId="2576826660" sldId="877"/>
            <ac:spMk id="27" creationId="{8B405E71-231D-0FC8-C526-7B1A5C7418F4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28" creationId="{17BED08A-1516-C261-6FDE-E2AE67B09A63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29" creationId="{330081DA-BF9E-9ED4-36EC-346824AC1F3D}"/>
          </ac:spMkLst>
        </pc:spChg>
        <pc:spChg chg="mod topLvl">
          <ac:chgData name="Bedel, Yanick Noah" userId="c0f86fc0-9b55-4d74-958a-ff514487524f" providerId="ADAL" clId="{5DCB94AE-F125-4388-AAC2-90396541D5B7}" dt="2025-07-08T21:44:54.182" v="4058" actId="208"/>
          <ac:spMkLst>
            <pc:docMk/>
            <pc:sldMk cId="2576826660" sldId="877"/>
            <ac:spMk id="30" creationId="{973364E6-7479-CAC2-A782-AD453D6DE290}"/>
          </ac:spMkLst>
        </pc:spChg>
        <pc:spChg chg="add mod">
          <ac:chgData name="Bedel, Yanick Noah" userId="c0f86fc0-9b55-4d74-958a-ff514487524f" providerId="ADAL" clId="{5DCB94AE-F125-4388-AAC2-90396541D5B7}" dt="2025-07-09T13:06:43.919" v="7864"/>
          <ac:spMkLst>
            <pc:docMk/>
            <pc:sldMk cId="2576826660" sldId="877"/>
            <ac:spMk id="31" creationId="{488A7F95-E230-C6D5-338C-EC71AB64BE3B}"/>
          </ac:spMkLst>
        </pc:spChg>
        <pc:spChg chg="mod topLvl">
          <ac:chgData name="Bedel, Yanick Noah" userId="c0f86fc0-9b55-4d74-958a-ff514487524f" providerId="ADAL" clId="{5DCB94AE-F125-4388-AAC2-90396541D5B7}" dt="2025-07-09T13:16:14.810" v="7949" actId="164"/>
          <ac:spMkLst>
            <pc:docMk/>
            <pc:sldMk cId="2576826660" sldId="877"/>
            <ac:spMk id="33" creationId="{36EC4411-5A4C-9771-6727-78D652A584A3}"/>
          </ac:spMkLst>
        </pc:spChg>
        <pc:spChg chg="add del mod">
          <ac:chgData name="Bedel, Yanick Noah" userId="c0f86fc0-9b55-4d74-958a-ff514487524f" providerId="ADAL" clId="{5DCB94AE-F125-4388-AAC2-90396541D5B7}" dt="2025-07-09T06:58:53.086" v="4903" actId="478"/>
          <ac:spMkLst>
            <pc:docMk/>
            <pc:sldMk cId="2576826660" sldId="877"/>
            <ac:spMk id="50" creationId="{29A26CA6-FEAF-8D9A-D877-A31B8609875F}"/>
          </ac:spMkLst>
        </pc:spChg>
        <pc:spChg chg="add del mod">
          <ac:chgData name="Bedel, Yanick Noah" userId="c0f86fc0-9b55-4d74-958a-ff514487524f" providerId="ADAL" clId="{5DCB94AE-F125-4388-AAC2-90396541D5B7}" dt="2025-07-09T13:05:24.896" v="7841" actId="478"/>
          <ac:spMkLst>
            <pc:docMk/>
            <pc:sldMk cId="2576826660" sldId="877"/>
            <ac:spMk id="53" creationId="{99310FFD-9436-91D4-87F8-C3F4AF0D72E4}"/>
          </ac:spMkLst>
        </pc:spChg>
        <pc:spChg chg="add del mod">
          <ac:chgData name="Bedel, Yanick Noah" userId="c0f86fc0-9b55-4d74-958a-ff514487524f" providerId="ADAL" clId="{5DCB94AE-F125-4388-AAC2-90396541D5B7}" dt="2025-07-09T13:05:24.896" v="7841" actId="478"/>
          <ac:spMkLst>
            <pc:docMk/>
            <pc:sldMk cId="2576826660" sldId="877"/>
            <ac:spMk id="54" creationId="{6D993E2A-8E63-D697-677D-0C851DEC72C4}"/>
          </ac:spMkLst>
        </pc:spChg>
        <pc:spChg chg="del mod">
          <ac:chgData name="Bedel, Yanick Noah" userId="c0f86fc0-9b55-4d74-958a-ff514487524f" providerId="ADAL" clId="{5DCB94AE-F125-4388-AAC2-90396541D5B7}" dt="2025-07-09T12:45:08.914" v="7568" actId="478"/>
          <ac:spMkLst>
            <pc:docMk/>
            <pc:sldMk cId="2576826660" sldId="877"/>
            <ac:spMk id="60" creationId="{0128F77E-A6B3-7BAD-0608-F144C3ECFD76}"/>
          </ac:spMkLst>
        </pc:spChg>
        <pc:grpChg chg="del">
          <ac:chgData name="Bedel, Yanick Noah" userId="c0f86fc0-9b55-4d74-958a-ff514487524f" providerId="ADAL" clId="{5DCB94AE-F125-4388-AAC2-90396541D5B7}" dt="2025-07-09T13:12:39.993" v="7897" actId="478"/>
          <ac:grpSpMkLst>
            <pc:docMk/>
            <pc:sldMk cId="2576826660" sldId="877"/>
            <ac:grpSpMk id="32" creationId="{D2E0EEFC-A037-92B8-5129-685CB9BEAEA3}"/>
          </ac:grpSpMkLst>
        </pc:grpChg>
        <pc:grpChg chg="add mod">
          <ac:chgData name="Bedel, Yanick Noah" userId="c0f86fc0-9b55-4d74-958a-ff514487524f" providerId="ADAL" clId="{5DCB94AE-F125-4388-AAC2-90396541D5B7}" dt="2025-07-09T13:16:14.810" v="7949" actId="164"/>
          <ac:grpSpMkLst>
            <pc:docMk/>
            <pc:sldMk cId="2576826660" sldId="877"/>
            <ac:grpSpMk id="37" creationId="{7D64D352-BFBE-04FD-F2C3-2A3896EF552E}"/>
          </ac:grpSpMkLst>
        </pc:grpChg>
        <pc:grpChg chg="del">
          <ac:chgData name="Bedel, Yanick Noah" userId="c0f86fc0-9b55-4d74-958a-ff514487524f" providerId="ADAL" clId="{5DCB94AE-F125-4388-AAC2-90396541D5B7}" dt="2025-07-09T13:05:24.896" v="7841" actId="478"/>
          <ac:grpSpMkLst>
            <pc:docMk/>
            <pc:sldMk cId="2576826660" sldId="877"/>
            <ac:grpSpMk id="55" creationId="{DE8054E4-6842-F5A5-58C0-053D0E1829AF}"/>
          </ac:grpSpMkLst>
        </pc:grpChg>
        <pc:grpChg chg="del">
          <ac:chgData name="Bedel, Yanick Noah" userId="c0f86fc0-9b55-4d74-958a-ff514487524f" providerId="ADAL" clId="{5DCB94AE-F125-4388-AAC2-90396541D5B7}" dt="2025-07-09T13:05:24.896" v="7841" actId="478"/>
          <ac:grpSpMkLst>
            <pc:docMk/>
            <pc:sldMk cId="2576826660" sldId="877"/>
            <ac:grpSpMk id="66" creationId="{85CEFFC2-F422-B643-AB35-8A9D3C7BC79B}"/>
          </ac:grpSpMkLst>
        </pc:grpChg>
        <pc:picChg chg="del topLvl">
          <ac:chgData name="Bedel, Yanick Noah" userId="c0f86fc0-9b55-4d74-958a-ff514487524f" providerId="ADAL" clId="{5DCB94AE-F125-4388-AAC2-90396541D5B7}" dt="2025-07-09T13:12:39.993" v="7897" actId="478"/>
          <ac:picMkLst>
            <pc:docMk/>
            <pc:sldMk cId="2576826660" sldId="877"/>
            <ac:picMk id="34" creationId="{5D16C269-FD69-492A-9E2E-DA47BCD91E36}"/>
          </ac:picMkLst>
        </pc:picChg>
        <pc:picChg chg="add mod">
          <ac:chgData name="Bedel, Yanick Noah" userId="c0f86fc0-9b55-4d74-958a-ff514487524f" providerId="ADAL" clId="{5DCB94AE-F125-4388-AAC2-90396541D5B7}" dt="2025-07-09T13:16:14.810" v="7949" actId="164"/>
          <ac:picMkLst>
            <pc:docMk/>
            <pc:sldMk cId="2576826660" sldId="877"/>
            <ac:picMk id="36" creationId="{187FCBC5-AA7A-4256-3007-9B441D8A3F58}"/>
          </ac:picMkLst>
        </pc:picChg>
        <pc:cxnChg chg="del">
          <ac:chgData name="Bedel, Yanick Noah" userId="c0f86fc0-9b55-4d74-958a-ff514487524f" providerId="ADAL" clId="{5DCB94AE-F125-4388-AAC2-90396541D5B7}" dt="2025-07-09T13:05:24.896" v="7841" actId="478"/>
          <ac:cxnSpMkLst>
            <pc:docMk/>
            <pc:sldMk cId="2576826660" sldId="877"/>
            <ac:cxnSpMk id="52" creationId="{4D073E7E-AF4F-49D7-63F4-84810961A618}"/>
          </ac:cxnSpMkLst>
        </pc:cxnChg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1:28.968" v="9687"/>
        <pc:sldMkLst>
          <pc:docMk/>
          <pc:sldMk cId="1757975757" sldId="878"/>
        </pc:sldMkLst>
        <pc:spChg chg="add del mod">
          <ac:chgData name="Bedel, Yanick Noah" userId="c0f86fc0-9b55-4d74-958a-ff514487524f" providerId="ADAL" clId="{5DCB94AE-F125-4388-AAC2-90396541D5B7}" dt="2025-07-09T13:05:39.033" v="7845" actId="478"/>
          <ac:spMkLst>
            <pc:docMk/>
            <pc:sldMk cId="1757975757" sldId="878"/>
            <ac:spMk id="2" creationId="{C1290595-4EA3-5D8B-12DC-2CFF144591ED}"/>
          </ac:spMkLst>
        </pc:spChg>
        <pc:spChg chg="mod">
          <ac:chgData name="Bedel, Yanick Noah" userId="c0f86fc0-9b55-4d74-958a-ff514487524f" providerId="ADAL" clId="{5DCB94AE-F125-4388-AAC2-90396541D5B7}" dt="2025-07-08T22:07:29.848" v="4305" actId="20577"/>
          <ac:spMkLst>
            <pc:docMk/>
            <pc:sldMk cId="1757975757" sldId="878"/>
            <ac:spMk id="6" creationId="{60CC890E-0704-CE34-DB78-34DD7045BF4D}"/>
          </ac:spMkLst>
        </pc:spChg>
        <pc:spChg chg="add del mod">
          <ac:chgData name="Bedel, Yanick Noah" userId="c0f86fc0-9b55-4d74-958a-ff514487524f" providerId="ADAL" clId="{5DCB94AE-F125-4388-AAC2-90396541D5B7}" dt="2025-07-09T13:05:45.401" v="7850" actId="478"/>
          <ac:spMkLst>
            <pc:docMk/>
            <pc:sldMk cId="1757975757" sldId="878"/>
            <ac:spMk id="7" creationId="{67049575-2C48-E01E-8352-5137D7EA5DCA}"/>
          </ac:spMkLst>
        </pc:spChg>
        <pc:spChg chg="add 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9" creationId="{BBD1E511-DBAE-468A-BD1E-289BE64C609C}"/>
          </ac:spMkLst>
        </pc:spChg>
        <pc:spChg chg="add 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10" creationId="{DC593DC7-36A9-C17C-9A13-066803FD39E8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14" creationId="{D4404358-9B1E-BF3C-9FCC-59A0C09B451E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16" creationId="{08F39827-4CD1-CB43-6A7D-A43D3BA90576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17" creationId="{47917CB6-881F-0B84-8006-EF9EDEEFA2B4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19" creationId="{4A769644-98C8-6E97-D97D-E1853B9B3F2F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20" creationId="{345FEA25-DF83-4177-F6BA-E17498EBCA37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21" creationId="{EB9F4ABA-6D14-4AB0-11F3-B4D257670E05}"/>
          </ac:spMkLst>
        </pc:spChg>
        <pc:spChg chg="mod">
          <ac:chgData name="Bedel, Yanick Noah" userId="c0f86fc0-9b55-4d74-958a-ff514487524f" providerId="ADAL" clId="{5DCB94AE-F125-4388-AAC2-90396541D5B7}" dt="2025-07-08T21:18:45.255" v="3790" actId="14100"/>
          <ac:spMkLst>
            <pc:docMk/>
            <pc:sldMk cId="1757975757" sldId="878"/>
            <ac:spMk id="22" creationId="{269391D5-AD83-F979-717B-3D863CDD24D0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24" creationId="{9DCBAA0E-2396-DD5A-F903-0A4E9DF2D5DE}"/>
          </ac:spMkLst>
        </pc:spChg>
        <pc:spChg chg="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25" creationId="{19CFDEC8-61A0-C89D-5983-F70DD67404BA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26" creationId="{55715F61-324B-4825-1271-CEE68D4DC3E6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27" creationId="{76F1AB48-0363-80A7-DC62-725FD4B3796C}"/>
          </ac:spMkLst>
        </pc:spChg>
        <pc:spChg chg="mod topLvl">
          <ac:chgData name="Bedel, Yanick Noah" userId="c0f86fc0-9b55-4d74-958a-ff514487524f" providerId="ADAL" clId="{5DCB94AE-F125-4388-AAC2-90396541D5B7}" dt="2025-07-08T21:13:56.193" v="3297" actId="14100"/>
          <ac:spMkLst>
            <pc:docMk/>
            <pc:sldMk cId="1757975757" sldId="878"/>
            <ac:spMk id="28" creationId="{22A40ACA-700C-2FCC-1C3E-EF04C5FC8F2F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29" creationId="{305788E6-69E1-BE4A-3C9F-471A86B18F92}"/>
          </ac:spMkLst>
        </pc:spChg>
        <pc:spChg chg="mod topLvl">
          <ac:chgData name="Bedel, Yanick Noah" userId="c0f86fc0-9b55-4d74-958a-ff514487524f" providerId="ADAL" clId="{5DCB94AE-F125-4388-AAC2-90396541D5B7}" dt="2025-07-08T21:45:02.584" v="4060" actId="208"/>
          <ac:spMkLst>
            <pc:docMk/>
            <pc:sldMk cId="1757975757" sldId="878"/>
            <ac:spMk id="30" creationId="{573C6E16-FB01-1FC5-F390-4899FB5E9D88}"/>
          </ac:spMkLst>
        </pc:spChg>
        <pc:spChg chg="add mod">
          <ac:chgData name="Bedel, Yanick Noah" userId="c0f86fc0-9b55-4d74-958a-ff514487524f" providerId="ADAL" clId="{5DCB94AE-F125-4388-AAC2-90396541D5B7}" dt="2025-07-09T13:06:45.389" v="7865"/>
          <ac:spMkLst>
            <pc:docMk/>
            <pc:sldMk cId="1757975757" sldId="878"/>
            <ac:spMk id="31" creationId="{944C6E85-0ED1-92FA-FEE0-F6259727D3E6}"/>
          </ac:spMkLst>
        </pc:spChg>
        <pc:spChg chg="mod topLvl">
          <ac:chgData name="Bedel, Yanick Noah" userId="c0f86fc0-9b55-4d74-958a-ff514487524f" providerId="ADAL" clId="{5DCB94AE-F125-4388-AAC2-90396541D5B7}" dt="2025-07-09T13:14:43.301" v="7927" actId="164"/>
          <ac:spMkLst>
            <pc:docMk/>
            <pc:sldMk cId="1757975757" sldId="878"/>
            <ac:spMk id="33" creationId="{1CBA7B18-F9F6-EE47-E5FF-81EBA2852484}"/>
          </ac:spMkLst>
        </pc:spChg>
        <pc:spChg chg="del">
          <ac:chgData name="Bedel, Yanick Noah" userId="c0f86fc0-9b55-4d74-958a-ff514487524f" providerId="ADAL" clId="{5DCB94AE-F125-4388-AAC2-90396541D5B7}" dt="2025-07-09T06:58:40.318" v="4900" actId="478"/>
          <ac:spMkLst>
            <pc:docMk/>
            <pc:sldMk cId="1757975757" sldId="878"/>
            <ac:spMk id="50" creationId="{4927EBBB-3265-1D9C-5F1F-89FC3AB89D4E}"/>
          </ac:spMkLst>
        </pc:spChg>
        <pc:spChg chg="add del mod">
          <ac:chgData name="Bedel, Yanick Noah" userId="c0f86fc0-9b55-4d74-958a-ff514487524f" providerId="ADAL" clId="{5DCB94AE-F125-4388-AAC2-90396541D5B7}" dt="2025-07-09T13:05:42.409" v="7848" actId="478"/>
          <ac:spMkLst>
            <pc:docMk/>
            <pc:sldMk cId="1757975757" sldId="878"/>
            <ac:spMk id="53" creationId="{9F19A9A5-D695-B4F1-6B63-AB4B8B0B4C4F}"/>
          </ac:spMkLst>
        </pc:spChg>
        <pc:spChg chg="add del mod">
          <ac:chgData name="Bedel, Yanick Noah" userId="c0f86fc0-9b55-4d74-958a-ff514487524f" providerId="ADAL" clId="{5DCB94AE-F125-4388-AAC2-90396541D5B7}" dt="2025-07-09T13:05:40.218" v="7846" actId="478"/>
          <ac:spMkLst>
            <pc:docMk/>
            <pc:sldMk cId="1757975757" sldId="878"/>
            <ac:spMk id="54" creationId="{67C2ECE3-8C38-52F5-E3DF-C5912AC1F78C}"/>
          </ac:spMkLst>
        </pc:spChg>
        <pc:grpChg chg="del">
          <ac:chgData name="Bedel, Yanick Noah" userId="c0f86fc0-9b55-4d74-958a-ff514487524f" providerId="ADAL" clId="{5DCB94AE-F125-4388-AAC2-90396541D5B7}" dt="2025-07-09T13:12:44.681" v="7898" actId="478"/>
          <ac:grpSpMkLst>
            <pc:docMk/>
            <pc:sldMk cId="1757975757" sldId="878"/>
            <ac:grpSpMk id="32" creationId="{0A001B9D-6926-7A73-1F10-D31DB60E2BD8}"/>
          </ac:grpSpMkLst>
        </pc:grpChg>
        <pc:grpChg chg="add mod">
          <ac:chgData name="Bedel, Yanick Noah" userId="c0f86fc0-9b55-4d74-958a-ff514487524f" providerId="ADAL" clId="{5DCB94AE-F125-4388-AAC2-90396541D5B7}" dt="2025-07-09T13:14:43.301" v="7927" actId="164"/>
          <ac:grpSpMkLst>
            <pc:docMk/>
            <pc:sldMk cId="1757975757" sldId="878"/>
            <ac:grpSpMk id="37" creationId="{6C46D3B8-3F0F-B74E-52E7-BC2A8C5BC37E}"/>
          </ac:grpSpMkLst>
        </pc:grpChg>
        <pc:grpChg chg="del">
          <ac:chgData name="Bedel, Yanick Noah" userId="c0f86fc0-9b55-4d74-958a-ff514487524f" providerId="ADAL" clId="{5DCB94AE-F125-4388-AAC2-90396541D5B7}" dt="2025-07-09T12:45:12.964" v="7569" actId="478"/>
          <ac:grpSpMkLst>
            <pc:docMk/>
            <pc:sldMk cId="1757975757" sldId="878"/>
            <ac:grpSpMk id="55" creationId="{F2415353-66EB-D55A-6058-95C661469392}"/>
          </ac:grpSpMkLst>
        </pc:grpChg>
        <pc:grpChg chg="del">
          <ac:chgData name="Bedel, Yanick Noah" userId="c0f86fc0-9b55-4d74-958a-ff514487524f" providerId="ADAL" clId="{5DCB94AE-F125-4388-AAC2-90396541D5B7}" dt="2025-07-09T13:05:43.387" v="7849" actId="478"/>
          <ac:grpSpMkLst>
            <pc:docMk/>
            <pc:sldMk cId="1757975757" sldId="878"/>
            <ac:grpSpMk id="66" creationId="{73B653B7-698C-0834-99E1-72538DB54E59}"/>
          </ac:grpSpMkLst>
        </pc:grpChg>
        <pc:picChg chg="del topLvl">
          <ac:chgData name="Bedel, Yanick Noah" userId="c0f86fc0-9b55-4d74-958a-ff514487524f" providerId="ADAL" clId="{5DCB94AE-F125-4388-AAC2-90396541D5B7}" dt="2025-07-09T13:12:44.681" v="7898" actId="478"/>
          <ac:picMkLst>
            <pc:docMk/>
            <pc:sldMk cId="1757975757" sldId="878"/>
            <ac:picMk id="34" creationId="{570615B8-565E-4E12-5EF2-A10713C9FB70}"/>
          </ac:picMkLst>
        </pc:picChg>
        <pc:picChg chg="add mod">
          <ac:chgData name="Bedel, Yanick Noah" userId="c0f86fc0-9b55-4d74-958a-ff514487524f" providerId="ADAL" clId="{5DCB94AE-F125-4388-AAC2-90396541D5B7}" dt="2025-07-09T13:14:43.301" v="7927" actId="164"/>
          <ac:picMkLst>
            <pc:docMk/>
            <pc:sldMk cId="1757975757" sldId="878"/>
            <ac:picMk id="36" creationId="{F3685054-B78A-1A2C-361F-5035DDAE2D2F}"/>
          </ac:picMkLst>
        </pc:picChg>
        <pc:cxnChg chg="del">
          <ac:chgData name="Bedel, Yanick Noah" userId="c0f86fc0-9b55-4d74-958a-ff514487524f" providerId="ADAL" clId="{5DCB94AE-F125-4388-AAC2-90396541D5B7}" dt="2025-07-09T13:05:41.015" v="7847" actId="478"/>
          <ac:cxnSpMkLst>
            <pc:docMk/>
            <pc:sldMk cId="1757975757" sldId="878"/>
            <ac:cxnSpMk id="52" creationId="{3CB71CA5-4705-EF02-AD7C-89BAC623ECAE}"/>
          </ac:cxnSpMkLst>
        </pc:cxnChg>
      </pc:sldChg>
      <pc:sldChg chg="add del">
        <pc:chgData name="Bedel, Yanick Noah" userId="c0f86fc0-9b55-4d74-958a-ff514487524f" providerId="ADAL" clId="{5DCB94AE-F125-4388-AAC2-90396541D5B7}" dt="2025-07-08T21:00:19.998" v="2842" actId="47"/>
        <pc:sldMkLst>
          <pc:docMk/>
          <pc:sldMk cId="2054314208" sldId="878"/>
        </pc:sldMkLst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1:37.960" v="9688"/>
        <pc:sldMkLst>
          <pc:docMk/>
          <pc:sldMk cId="1402324152" sldId="879"/>
        </pc:sldMkLst>
        <pc:spChg chg="add del mod">
          <ac:chgData name="Bedel, Yanick Noah" userId="c0f86fc0-9b55-4d74-958a-ff514487524f" providerId="ADAL" clId="{5DCB94AE-F125-4388-AAC2-90396541D5B7}" dt="2025-07-09T13:05:53.577" v="7854" actId="478"/>
          <ac:spMkLst>
            <pc:docMk/>
            <pc:sldMk cId="1402324152" sldId="879"/>
            <ac:spMk id="2" creationId="{3A6E9405-8A6B-0CF3-C7CA-4C89C32E23E7}"/>
          </ac:spMkLst>
        </pc:spChg>
        <pc:spChg chg="mod">
          <ac:chgData name="Bedel, Yanick Noah" userId="c0f86fc0-9b55-4d74-958a-ff514487524f" providerId="ADAL" clId="{5DCB94AE-F125-4388-AAC2-90396541D5B7}" dt="2025-07-08T22:07:35.805" v="4307" actId="20577"/>
          <ac:spMkLst>
            <pc:docMk/>
            <pc:sldMk cId="1402324152" sldId="879"/>
            <ac:spMk id="6" creationId="{1936DCEC-72B7-FA1A-92E9-962D46F89C88}"/>
          </ac:spMkLst>
        </pc:spChg>
        <pc:spChg chg="add del mod">
          <ac:chgData name="Bedel, Yanick Noah" userId="c0f86fc0-9b55-4d74-958a-ff514487524f" providerId="ADAL" clId="{5DCB94AE-F125-4388-AAC2-90396541D5B7}" dt="2025-07-09T13:05:47.677" v="7851" actId="478"/>
          <ac:spMkLst>
            <pc:docMk/>
            <pc:sldMk cId="1402324152" sldId="879"/>
            <ac:spMk id="7" creationId="{CD260BE3-8A3D-6B64-B9FC-6727017B1624}"/>
          </ac:spMkLst>
        </pc:spChg>
        <pc:spChg chg="add 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9" creationId="{01E30B37-5AF1-4096-75AD-2CA4A24F429F}"/>
          </ac:spMkLst>
        </pc:spChg>
        <pc:spChg chg="add 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10" creationId="{0DDE1789-0A63-47EC-A03C-6801EE543662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14" creationId="{6F576DE6-7755-340D-70B3-C6A15FDDF952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16" creationId="{1AE543F4-CBCE-00D6-26F3-EBC6506BDD23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17" creationId="{5DA1B576-E224-D761-AB04-A0EDEDAE5C8B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19" creationId="{76641062-6E77-30AF-83AA-9B3F67EE4B40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20" creationId="{6FDF0684-341C-2526-90A1-03F724806DD5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21" creationId="{C91C62AC-4DCC-6425-D765-1BC07265D5D3}"/>
          </ac:spMkLst>
        </pc:spChg>
        <pc:spChg chg="mod">
          <ac:chgData name="Bedel, Yanick Noah" userId="c0f86fc0-9b55-4d74-958a-ff514487524f" providerId="ADAL" clId="{5DCB94AE-F125-4388-AAC2-90396541D5B7}" dt="2025-07-08T21:18:40.222" v="3789" actId="14100"/>
          <ac:spMkLst>
            <pc:docMk/>
            <pc:sldMk cId="1402324152" sldId="879"/>
            <ac:spMk id="22" creationId="{47374DDA-F2DA-B413-ABFC-D4602D0371A3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24" creationId="{9450815E-9151-EC2E-332A-5AE5069E689D}"/>
          </ac:spMkLst>
        </pc:spChg>
        <pc:spChg chg="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25" creationId="{FA91D565-7080-99B5-F905-3806E1B8512B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26" creationId="{C8F68CB0-30CA-F1E4-BD2E-4A88E94855BD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27" creationId="{346D9AE2-84D9-7F16-C1E6-E9B01A4BA434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28" creationId="{493A3026-7F1D-B727-326A-5783D3734468}"/>
          </ac:spMkLst>
        </pc:spChg>
        <pc:spChg chg="mod topLvl">
          <ac:chgData name="Bedel, Yanick Noah" userId="c0f86fc0-9b55-4d74-958a-ff514487524f" providerId="ADAL" clId="{5DCB94AE-F125-4388-AAC2-90396541D5B7}" dt="2025-07-08T21:17:05.352" v="3562" actId="14100"/>
          <ac:spMkLst>
            <pc:docMk/>
            <pc:sldMk cId="1402324152" sldId="879"/>
            <ac:spMk id="29" creationId="{3736AC74-7ACE-DC7C-EC84-C3EC297F0B4B}"/>
          </ac:spMkLst>
        </pc:spChg>
        <pc:spChg chg="mod topLvl">
          <ac:chgData name="Bedel, Yanick Noah" userId="c0f86fc0-9b55-4d74-958a-ff514487524f" providerId="ADAL" clId="{5DCB94AE-F125-4388-AAC2-90396541D5B7}" dt="2025-07-08T21:45:23.549" v="4063" actId="208"/>
          <ac:spMkLst>
            <pc:docMk/>
            <pc:sldMk cId="1402324152" sldId="879"/>
            <ac:spMk id="30" creationId="{7761D729-45CF-5C9A-F9BC-349E1D8ABD72}"/>
          </ac:spMkLst>
        </pc:spChg>
        <pc:spChg chg="add mod">
          <ac:chgData name="Bedel, Yanick Noah" userId="c0f86fc0-9b55-4d74-958a-ff514487524f" providerId="ADAL" clId="{5DCB94AE-F125-4388-AAC2-90396541D5B7}" dt="2025-07-09T13:06:47.069" v="7866"/>
          <ac:spMkLst>
            <pc:docMk/>
            <pc:sldMk cId="1402324152" sldId="879"/>
            <ac:spMk id="31" creationId="{1D8384E4-2875-CAAF-8F36-20296DB06490}"/>
          </ac:spMkLst>
        </pc:spChg>
        <pc:spChg chg="mod topLvl">
          <ac:chgData name="Bedel, Yanick Noah" userId="c0f86fc0-9b55-4d74-958a-ff514487524f" providerId="ADAL" clId="{5DCB94AE-F125-4388-AAC2-90396541D5B7}" dt="2025-07-09T13:14:48.332" v="7928" actId="164"/>
          <ac:spMkLst>
            <pc:docMk/>
            <pc:sldMk cId="1402324152" sldId="879"/>
            <ac:spMk id="33" creationId="{8AFDE2F3-0334-9372-39D6-FBA81C7D36D1}"/>
          </ac:spMkLst>
        </pc:spChg>
        <pc:spChg chg="add del mod">
          <ac:chgData name="Bedel, Yanick Noah" userId="c0f86fc0-9b55-4d74-958a-ff514487524f" providerId="ADAL" clId="{5DCB94AE-F125-4388-AAC2-90396541D5B7}" dt="2025-07-09T06:58:35.440" v="4899" actId="478"/>
          <ac:spMkLst>
            <pc:docMk/>
            <pc:sldMk cId="1402324152" sldId="879"/>
            <ac:spMk id="50" creationId="{B8B0F29C-1F89-C672-449D-6D7CB13DBFC8}"/>
          </ac:spMkLst>
        </pc:spChg>
        <pc:spChg chg="add del mod">
          <ac:chgData name="Bedel, Yanick Noah" userId="c0f86fc0-9b55-4d74-958a-ff514487524f" providerId="ADAL" clId="{5DCB94AE-F125-4388-AAC2-90396541D5B7}" dt="2025-07-09T13:05:54.949" v="7855" actId="478"/>
          <ac:spMkLst>
            <pc:docMk/>
            <pc:sldMk cId="1402324152" sldId="879"/>
            <ac:spMk id="53" creationId="{D045F0F4-CF2E-83F2-1CBA-8EB05C0313C5}"/>
          </ac:spMkLst>
        </pc:spChg>
        <pc:spChg chg="add del mod">
          <ac:chgData name="Bedel, Yanick Noah" userId="c0f86fc0-9b55-4d74-958a-ff514487524f" providerId="ADAL" clId="{5DCB94AE-F125-4388-AAC2-90396541D5B7}" dt="2025-07-09T13:05:53.577" v="7854" actId="478"/>
          <ac:spMkLst>
            <pc:docMk/>
            <pc:sldMk cId="1402324152" sldId="879"/>
            <ac:spMk id="54" creationId="{F2DDDC1A-E71E-FB23-7028-C4EB112BBC13}"/>
          </ac:spMkLst>
        </pc:spChg>
        <pc:grpChg chg="del">
          <ac:chgData name="Bedel, Yanick Noah" userId="c0f86fc0-9b55-4d74-958a-ff514487524f" providerId="ADAL" clId="{5DCB94AE-F125-4388-AAC2-90396541D5B7}" dt="2025-07-09T13:12:49.849" v="7899" actId="478"/>
          <ac:grpSpMkLst>
            <pc:docMk/>
            <pc:sldMk cId="1402324152" sldId="879"/>
            <ac:grpSpMk id="32" creationId="{E8B9930E-B7FC-C916-5D8E-A53762BC05D7}"/>
          </ac:grpSpMkLst>
        </pc:grpChg>
        <pc:grpChg chg="add mod">
          <ac:chgData name="Bedel, Yanick Noah" userId="c0f86fc0-9b55-4d74-958a-ff514487524f" providerId="ADAL" clId="{5DCB94AE-F125-4388-AAC2-90396541D5B7}" dt="2025-07-09T13:14:48.332" v="7928" actId="164"/>
          <ac:grpSpMkLst>
            <pc:docMk/>
            <pc:sldMk cId="1402324152" sldId="879"/>
            <ac:grpSpMk id="38" creationId="{B51BCD52-83E3-F7B3-560A-34B58C0972BE}"/>
          </ac:grpSpMkLst>
        </pc:grpChg>
        <pc:grpChg chg="del">
          <ac:chgData name="Bedel, Yanick Noah" userId="c0f86fc0-9b55-4d74-958a-ff514487524f" providerId="ADAL" clId="{5DCB94AE-F125-4388-AAC2-90396541D5B7}" dt="2025-07-09T12:45:15.462" v="7570" actId="478"/>
          <ac:grpSpMkLst>
            <pc:docMk/>
            <pc:sldMk cId="1402324152" sldId="879"/>
            <ac:grpSpMk id="55" creationId="{4E728229-CA61-B672-34D0-6C785FE635D2}"/>
          </ac:grpSpMkLst>
        </pc:grpChg>
        <pc:grpChg chg="del">
          <ac:chgData name="Bedel, Yanick Noah" userId="c0f86fc0-9b55-4d74-958a-ff514487524f" providerId="ADAL" clId="{5DCB94AE-F125-4388-AAC2-90396541D5B7}" dt="2025-07-09T13:05:49.800" v="7852" actId="478"/>
          <ac:grpSpMkLst>
            <pc:docMk/>
            <pc:sldMk cId="1402324152" sldId="879"/>
            <ac:grpSpMk id="66" creationId="{606F7031-12D5-C5BE-D0D9-A738BDFA444F}"/>
          </ac:grpSpMkLst>
        </pc:grpChg>
        <pc:picChg chg="del topLvl">
          <ac:chgData name="Bedel, Yanick Noah" userId="c0f86fc0-9b55-4d74-958a-ff514487524f" providerId="ADAL" clId="{5DCB94AE-F125-4388-AAC2-90396541D5B7}" dt="2025-07-09T13:12:49.849" v="7899" actId="478"/>
          <ac:picMkLst>
            <pc:docMk/>
            <pc:sldMk cId="1402324152" sldId="879"/>
            <ac:picMk id="34" creationId="{86EA81DE-FEA5-D0BF-9951-FF5924704C73}"/>
          </ac:picMkLst>
        </pc:picChg>
        <pc:picChg chg="add mod modCrop">
          <ac:chgData name="Bedel, Yanick Noah" userId="c0f86fc0-9b55-4d74-958a-ff514487524f" providerId="ADAL" clId="{5DCB94AE-F125-4388-AAC2-90396541D5B7}" dt="2025-07-09T13:14:48.332" v="7928" actId="164"/>
          <ac:picMkLst>
            <pc:docMk/>
            <pc:sldMk cId="1402324152" sldId="879"/>
            <ac:picMk id="36" creationId="{6D2A76DB-A5D1-0BC9-1C72-F295B84093ED}"/>
          </ac:picMkLst>
        </pc:picChg>
        <pc:picChg chg="add del mod">
          <ac:chgData name="Bedel, Yanick Noah" userId="c0f86fc0-9b55-4d74-958a-ff514487524f" providerId="ADAL" clId="{5DCB94AE-F125-4388-AAC2-90396541D5B7}" dt="2025-07-09T13:13:33.559" v="7913" actId="478"/>
          <ac:picMkLst>
            <pc:docMk/>
            <pc:sldMk cId="1402324152" sldId="879"/>
            <ac:picMk id="37" creationId="{6831A381-46F6-1DCF-1BC2-2FA93A8F75C7}"/>
          </ac:picMkLst>
        </pc:picChg>
        <pc:cxnChg chg="del">
          <ac:chgData name="Bedel, Yanick Noah" userId="c0f86fc0-9b55-4d74-958a-ff514487524f" providerId="ADAL" clId="{5DCB94AE-F125-4388-AAC2-90396541D5B7}" dt="2025-07-09T13:05:50.462" v="7853" actId="478"/>
          <ac:cxnSpMkLst>
            <pc:docMk/>
            <pc:sldMk cId="1402324152" sldId="879"/>
            <ac:cxnSpMk id="52" creationId="{89624A61-BF0D-50EC-1E91-5149384E9B66}"/>
          </ac:cxnSpMkLst>
        </pc:cxnChg>
      </pc:sldChg>
      <pc:sldChg chg="add del">
        <pc:chgData name="Bedel, Yanick Noah" userId="c0f86fc0-9b55-4d74-958a-ff514487524f" providerId="ADAL" clId="{5DCB94AE-F125-4388-AAC2-90396541D5B7}" dt="2025-07-08T21:00:22.762" v="2844" actId="47"/>
        <pc:sldMkLst>
          <pc:docMk/>
          <pc:sldMk cId="3255241488" sldId="879"/>
        </pc:sldMkLst>
      </pc:sldChg>
      <pc:sldChg chg="add del">
        <pc:chgData name="Bedel, Yanick Noah" userId="c0f86fc0-9b55-4d74-958a-ff514487524f" providerId="ADAL" clId="{5DCB94AE-F125-4388-AAC2-90396541D5B7}" dt="2025-07-08T21:00:21.765" v="2843" actId="47"/>
        <pc:sldMkLst>
          <pc:docMk/>
          <pc:sldMk cId="23720969" sldId="880"/>
        </pc:sldMkLst>
      </pc:sldChg>
      <pc:sldChg chg="addSp delSp modSp add del mod modTransition delAnim modAnim">
        <pc:chgData name="Bedel, Yanick Noah" userId="c0f86fc0-9b55-4d74-958a-ff514487524f" providerId="ADAL" clId="{5DCB94AE-F125-4388-AAC2-90396541D5B7}" dt="2025-07-09T15:31:44.664" v="9689"/>
        <pc:sldMkLst>
          <pc:docMk/>
          <pc:sldMk cId="2790949665" sldId="880"/>
        </pc:sldMkLst>
        <pc:spChg chg="add del mod">
          <ac:chgData name="Bedel, Yanick Noah" userId="c0f86fc0-9b55-4d74-958a-ff514487524f" providerId="ADAL" clId="{5DCB94AE-F125-4388-AAC2-90396541D5B7}" dt="2025-07-09T13:06:04.431" v="7860" actId="478"/>
          <ac:spMkLst>
            <pc:docMk/>
            <pc:sldMk cId="2790949665" sldId="880"/>
            <ac:spMk id="2" creationId="{A9AB7F51-F738-5CCC-0F6F-5A0F1E37A1C7}"/>
          </ac:spMkLst>
        </pc:spChg>
        <pc:spChg chg="mod">
          <ac:chgData name="Bedel, Yanick Noah" userId="c0f86fc0-9b55-4d74-958a-ff514487524f" providerId="ADAL" clId="{5DCB94AE-F125-4388-AAC2-90396541D5B7}" dt="2025-07-08T22:07:40.297" v="4309" actId="20577"/>
          <ac:spMkLst>
            <pc:docMk/>
            <pc:sldMk cId="2790949665" sldId="880"/>
            <ac:spMk id="6" creationId="{E61C3A3B-C8B6-246E-2D81-431A41AEAB86}"/>
          </ac:spMkLst>
        </pc:spChg>
        <pc:spChg chg="add del mod">
          <ac:chgData name="Bedel, Yanick Noah" userId="c0f86fc0-9b55-4d74-958a-ff514487524f" providerId="ADAL" clId="{5DCB94AE-F125-4388-AAC2-90396541D5B7}" dt="2025-07-09T13:06:05.854" v="7861" actId="478"/>
          <ac:spMkLst>
            <pc:docMk/>
            <pc:sldMk cId="2790949665" sldId="880"/>
            <ac:spMk id="7" creationId="{B16FBA15-3A7B-C10D-F3D8-100D8108FC75}"/>
          </ac:spMkLst>
        </pc:spChg>
        <pc:spChg chg="add 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9" creationId="{093A08C5-1605-EB31-E8B0-C89F67F2E3B4}"/>
          </ac:spMkLst>
        </pc:spChg>
        <pc:spChg chg="add 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10" creationId="{67617EF7-CA4E-3A26-9895-00A47DF690D4}"/>
          </ac:spMkLst>
        </pc:spChg>
        <pc:spChg chg="add del mod">
          <ac:chgData name="Bedel, Yanick Noah" userId="c0f86fc0-9b55-4d74-958a-ff514487524f" providerId="ADAL" clId="{5DCB94AE-F125-4388-AAC2-90396541D5B7}" dt="2025-07-09T13:06:00.327" v="7856" actId="478"/>
          <ac:spMkLst>
            <pc:docMk/>
            <pc:sldMk cId="2790949665" sldId="880"/>
            <ac:spMk id="15" creationId="{5F4ABC76-710B-C8B4-A2C3-542209E2064E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16" creationId="{7A531819-0DCA-782D-8FCC-8A6B337586FF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17" creationId="{CB6540AF-6E58-DF06-1328-0E5BEF0386E1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19" creationId="{75344FF3-11B0-967B-1DD2-D0CA51A38842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21" creationId="{ED6F4B93-64CA-8131-6B16-816D0E85E01A}"/>
          </ac:spMkLst>
        </pc:spChg>
        <pc:spChg chg="mod">
          <ac:chgData name="Bedel, Yanick Noah" userId="c0f86fc0-9b55-4d74-958a-ff514487524f" providerId="ADAL" clId="{5DCB94AE-F125-4388-AAC2-90396541D5B7}" dt="2025-07-08T21:18:33.747" v="3788" actId="14100"/>
          <ac:spMkLst>
            <pc:docMk/>
            <pc:sldMk cId="2790949665" sldId="880"/>
            <ac:spMk id="22" creationId="{3FE1DF20-8FCF-1605-AB40-D54D414FABF2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24" creationId="{1ACC8D38-D598-C9AB-B6A5-3F458E18A437}"/>
          </ac:spMkLst>
        </pc:spChg>
        <pc:spChg chg="add del mod">
          <ac:chgData name="Bedel, Yanick Noah" userId="c0f86fc0-9b55-4d74-958a-ff514487524f" providerId="ADAL" clId="{5DCB94AE-F125-4388-AAC2-90396541D5B7}" dt="2025-07-09T13:06:03.373" v="7859" actId="478"/>
          <ac:spMkLst>
            <pc:docMk/>
            <pc:sldMk cId="2790949665" sldId="880"/>
            <ac:spMk id="25" creationId="{1CB8A5B5-A5CA-14FB-1B57-C921645FC195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26" creationId="{7F542B90-07B5-EA18-23C3-34F010C2FA5F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27" creationId="{98B5FC49-100A-E56B-9977-CAAF5B021915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28" creationId="{9D4E36B3-9774-9EED-4AB6-F9D60774EEBE}"/>
          </ac:spMkLst>
        </pc:spChg>
        <pc:spChg chg="mod topLvl">
          <ac:chgData name="Bedel, Yanick Noah" userId="c0f86fc0-9b55-4d74-958a-ff514487524f" providerId="ADAL" clId="{5DCB94AE-F125-4388-AAC2-90396541D5B7}" dt="2025-07-08T21:45:44.706" v="4072" actId="208"/>
          <ac:spMkLst>
            <pc:docMk/>
            <pc:sldMk cId="2790949665" sldId="880"/>
            <ac:spMk id="29" creationId="{F3AEB8F2-12F0-ECAD-92EE-15D7482781BA}"/>
          </ac:spMkLst>
        </pc:spChg>
        <pc:spChg chg="mod topLvl">
          <ac:chgData name="Bedel, Yanick Noah" userId="c0f86fc0-9b55-4d74-958a-ff514487524f" providerId="ADAL" clId="{5DCB94AE-F125-4388-AAC2-90396541D5B7}" dt="2025-07-08T21:18:26.434" v="3787" actId="14100"/>
          <ac:spMkLst>
            <pc:docMk/>
            <pc:sldMk cId="2790949665" sldId="880"/>
            <ac:spMk id="30" creationId="{1F0153E3-B07D-CAA7-11EB-296149D48D59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35" creationId="{E808FD79-9B6F-4E28-183A-0333E8CEA6B9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38" creationId="{84A8E037-9872-C884-6036-97F5873F5F65}"/>
          </ac:spMkLst>
        </pc:spChg>
        <pc:spChg chg="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39" creationId="{BBBD507B-3EE1-D85A-1D95-59321886DC5F}"/>
          </ac:spMkLst>
        </pc:spChg>
        <pc:spChg chg="add mod">
          <ac:chgData name="Bedel, Yanick Noah" userId="c0f86fc0-9b55-4d74-958a-ff514487524f" providerId="ADAL" clId="{5DCB94AE-F125-4388-AAC2-90396541D5B7}" dt="2025-07-09T13:06:48.200" v="7867"/>
          <ac:spMkLst>
            <pc:docMk/>
            <pc:sldMk cId="2790949665" sldId="880"/>
            <ac:spMk id="45" creationId="{8CE43B9F-1D30-4A76-FC2C-0CD390601DBB}"/>
          </ac:spMkLst>
        </pc:spChg>
        <pc:spChg chg="add del mod">
          <ac:chgData name="Bedel, Yanick Noah" userId="c0f86fc0-9b55-4d74-958a-ff514487524f" providerId="ADAL" clId="{5DCB94AE-F125-4388-AAC2-90396541D5B7}" dt="2025-07-09T06:58:47.945" v="4901" actId="478"/>
          <ac:spMkLst>
            <pc:docMk/>
            <pc:sldMk cId="2790949665" sldId="880"/>
            <ac:spMk id="50" creationId="{0A825EAF-A558-FA4B-6B9F-8A3273D189CD}"/>
          </ac:spMkLst>
        </pc:spChg>
        <pc:spChg chg="mod topLvl">
          <ac:chgData name="Bedel, Yanick Noah" userId="c0f86fc0-9b55-4d74-958a-ff514487524f" providerId="ADAL" clId="{5DCB94AE-F125-4388-AAC2-90396541D5B7}" dt="2025-07-09T13:27:43.244" v="7984" actId="164"/>
          <ac:spMkLst>
            <pc:docMk/>
            <pc:sldMk cId="2790949665" sldId="880"/>
            <ac:spMk id="51" creationId="{F3803476-70BC-2EA5-87C7-1351CF6B264D}"/>
          </ac:spMkLst>
        </pc:spChg>
        <pc:grpChg chg="del">
          <ac:chgData name="Bedel, Yanick Noah" userId="c0f86fc0-9b55-4d74-958a-ff514487524f" providerId="ADAL" clId="{5DCB94AE-F125-4388-AAC2-90396541D5B7}" dt="2025-07-09T13:14:54.404" v="7929" actId="478"/>
          <ac:grpSpMkLst>
            <pc:docMk/>
            <pc:sldMk cId="2790949665" sldId="880"/>
            <ac:grpSpMk id="50" creationId="{6CB49B10-A3B1-8C64-9460-BC175D9D485B}"/>
          </ac:grpSpMkLst>
        </pc:grpChg>
        <pc:grpChg chg="add del mod">
          <ac:chgData name="Bedel, Yanick Noah" userId="c0f86fc0-9b55-4d74-958a-ff514487524f" providerId="ADAL" clId="{5DCB94AE-F125-4388-AAC2-90396541D5B7}" dt="2025-07-09T12:45:17.704" v="7571" actId="478"/>
          <ac:grpSpMkLst>
            <pc:docMk/>
            <pc:sldMk cId="2790949665" sldId="880"/>
            <ac:grpSpMk id="61" creationId="{31666519-E89D-EA90-6685-7DD55592DAEC}"/>
          </ac:grpSpMkLst>
        </pc:grpChg>
        <pc:grpChg chg="add del mod">
          <ac:chgData name="Bedel, Yanick Noah" userId="c0f86fc0-9b55-4d74-958a-ff514487524f" providerId="ADAL" clId="{5DCB94AE-F125-4388-AAC2-90396541D5B7}" dt="2025-07-09T13:06:01.239" v="7857" actId="478"/>
          <ac:grpSpMkLst>
            <pc:docMk/>
            <pc:sldMk cId="2790949665" sldId="880"/>
            <ac:grpSpMk id="62" creationId="{9D1F92B6-2CE5-E7C3-2388-3AF2D7835FAF}"/>
          </ac:grpSpMkLst>
        </pc:grpChg>
        <pc:grpChg chg="add mod">
          <ac:chgData name="Bedel, Yanick Noah" userId="c0f86fc0-9b55-4d74-958a-ff514487524f" providerId="ADAL" clId="{5DCB94AE-F125-4388-AAC2-90396541D5B7}" dt="2025-07-09T13:27:43.244" v="7984" actId="164"/>
          <ac:grpSpMkLst>
            <pc:docMk/>
            <pc:sldMk cId="2790949665" sldId="880"/>
            <ac:grpSpMk id="64" creationId="{44D0B235-9F7B-2C76-A647-0E91038E9B60}"/>
          </ac:grpSpMkLst>
        </pc:grpChg>
        <pc:picChg chg="del topLvl">
          <ac:chgData name="Bedel, Yanick Noah" userId="c0f86fc0-9b55-4d74-958a-ff514487524f" providerId="ADAL" clId="{5DCB94AE-F125-4388-AAC2-90396541D5B7}" dt="2025-07-09T13:14:54.404" v="7929" actId="478"/>
          <ac:picMkLst>
            <pc:docMk/>
            <pc:sldMk cId="2790949665" sldId="880"/>
            <ac:picMk id="53" creationId="{778A8D3A-41C4-E66F-10EE-64A3C766BB00}"/>
          </ac:picMkLst>
        </pc:picChg>
        <pc:picChg chg="add mod">
          <ac:chgData name="Bedel, Yanick Noah" userId="c0f86fc0-9b55-4d74-958a-ff514487524f" providerId="ADAL" clId="{5DCB94AE-F125-4388-AAC2-90396541D5B7}" dt="2025-07-09T13:27:43.244" v="7984" actId="164"/>
          <ac:picMkLst>
            <pc:docMk/>
            <pc:sldMk cId="2790949665" sldId="880"/>
            <ac:picMk id="59" creationId="{12F90375-3DCC-CF13-11BA-3BCA9C59AF9B}"/>
          </ac:picMkLst>
        </pc:picChg>
        <pc:cxnChg chg="add del mod">
          <ac:chgData name="Bedel, Yanick Noah" userId="c0f86fc0-9b55-4d74-958a-ff514487524f" providerId="ADAL" clId="{5DCB94AE-F125-4388-AAC2-90396541D5B7}" dt="2025-07-09T13:06:02.314" v="7858" actId="478"/>
          <ac:cxnSpMkLst>
            <pc:docMk/>
            <pc:sldMk cId="2790949665" sldId="880"/>
            <ac:cxnSpMk id="14" creationId="{38C8BA64-BF11-DFA9-2CFF-6523E868882F}"/>
          </ac:cxnSpMkLst>
        </pc:cxnChg>
        <pc:cxnChg chg="mod">
          <ac:chgData name="Bedel, Yanick Noah" userId="c0f86fc0-9b55-4d74-958a-ff514487524f" providerId="ADAL" clId="{5DCB94AE-F125-4388-AAC2-90396541D5B7}" dt="2025-07-08T22:00:22.515" v="4250" actId="1037"/>
          <ac:cxnSpMkLst>
            <pc:docMk/>
            <pc:sldMk cId="2790949665" sldId="880"/>
            <ac:cxnSpMk id="32" creationId="{B56FCE42-56BB-8532-3475-6EB71247383F}"/>
          </ac:cxnSpMkLst>
        </pc:cxnChg>
        <pc:cxnChg chg="add mod">
          <ac:chgData name="Bedel, Yanick Noah" userId="c0f86fc0-9b55-4d74-958a-ff514487524f" providerId="ADAL" clId="{5DCB94AE-F125-4388-AAC2-90396541D5B7}" dt="2025-07-08T22:00:22.515" v="4250" actId="1037"/>
          <ac:cxnSpMkLst>
            <pc:docMk/>
            <pc:sldMk cId="2790949665" sldId="880"/>
            <ac:cxnSpMk id="63" creationId="{9036EAC0-243C-A0C8-080A-2E172AB1B957}"/>
          </ac:cxnSpMkLst>
        </pc:cxnChg>
      </pc:sldChg>
      <pc:sldChg chg="addSp delSp modSp add mod ord modTransition delAnim modAnim">
        <pc:chgData name="Bedel, Yanick Noah" userId="c0f86fc0-9b55-4d74-958a-ff514487524f" providerId="ADAL" clId="{5DCB94AE-F125-4388-AAC2-90396541D5B7}" dt="2025-07-09T13:04:06.219" v="7833"/>
        <pc:sldMkLst>
          <pc:docMk/>
          <pc:sldMk cId="3112927300" sldId="881"/>
        </pc:sldMkLst>
        <pc:spChg chg="add del mod">
          <ac:chgData name="Bedel, Yanick Noah" userId="c0f86fc0-9b55-4d74-958a-ff514487524f" providerId="ADAL" clId="{5DCB94AE-F125-4388-AAC2-90396541D5B7}" dt="2025-07-09T12:44:35.049" v="7563" actId="478"/>
          <ac:spMkLst>
            <pc:docMk/>
            <pc:sldMk cId="3112927300" sldId="881"/>
            <ac:spMk id="2" creationId="{2DDF9F45-CC8F-177E-7913-8841124E6BF3}"/>
          </ac:spMkLst>
        </pc:spChg>
        <pc:spChg chg="add mod">
          <ac:chgData name="Bedel, Yanick Noah" userId="c0f86fc0-9b55-4d74-958a-ff514487524f" providerId="ADAL" clId="{5DCB94AE-F125-4388-AAC2-90396541D5B7}" dt="2025-07-08T21:25:46.026" v="3870" actId="164"/>
          <ac:spMkLst>
            <pc:docMk/>
            <pc:sldMk cId="3112927300" sldId="881"/>
            <ac:spMk id="14" creationId="{C2C8A9D8-14ED-9B34-ABA7-115BA2650DAE}"/>
          </ac:spMkLst>
        </pc:spChg>
        <pc:spChg chg="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16" creationId="{1D7D8CED-E45F-3436-1E9B-58A380E0A0A1}"/>
          </ac:spMkLst>
        </pc:spChg>
        <pc:spChg chg="mod">
          <ac:chgData name="Bedel, Yanick Noah" userId="c0f86fc0-9b55-4d74-958a-ff514487524f" providerId="ADAL" clId="{5DCB94AE-F125-4388-AAC2-90396541D5B7}" dt="2025-07-08T21:38:42.709" v="3976" actId="555"/>
          <ac:spMkLst>
            <pc:docMk/>
            <pc:sldMk cId="3112927300" sldId="881"/>
            <ac:spMk id="23" creationId="{676F4BA5-EC0F-697C-374C-A44E249A7E7E}"/>
          </ac:spMkLst>
        </pc:spChg>
        <pc:spChg chg="mod">
          <ac:chgData name="Bedel, Yanick Noah" userId="c0f86fc0-9b55-4d74-958a-ff514487524f" providerId="ADAL" clId="{5DCB94AE-F125-4388-AAC2-90396541D5B7}" dt="2025-07-08T21:25:46.026" v="3870" actId="164"/>
          <ac:spMkLst>
            <pc:docMk/>
            <pc:sldMk cId="3112927300" sldId="881"/>
            <ac:spMk id="26" creationId="{89ED4B20-DE2E-12A0-05FC-9002AE0708C4}"/>
          </ac:spMkLst>
        </pc:spChg>
        <pc:spChg chg="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27" creationId="{5A1F9BD9-0446-749F-35DA-BBC389B6B4B2}"/>
          </ac:spMkLst>
        </pc:spChg>
        <pc:spChg chg="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28" creationId="{72E83CBF-557B-E085-8F1E-F60724FE21A6}"/>
          </ac:spMkLst>
        </pc:spChg>
        <pc:spChg chg="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29" creationId="{D251E9C2-4169-EC4A-A1D1-FF485EC0CEBC}"/>
          </ac:spMkLst>
        </pc:spChg>
        <pc:spChg chg="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30" creationId="{AE0EEE52-C786-479E-FCC3-FC5829059689}"/>
          </ac:spMkLst>
        </pc:spChg>
        <pc:spChg chg="add 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48" creationId="{0E20924D-5DB3-6315-3F54-5576A9B7BA31}"/>
          </ac:spMkLst>
        </pc:spChg>
        <pc:spChg chg="add 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49" creationId="{5E5635F4-0654-C0DC-889A-CCDD9D8D07B2}"/>
          </ac:spMkLst>
        </pc:spChg>
        <pc:spChg chg="add 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50" creationId="{A6CFC9B5-C380-35A2-3F74-EA83E950384C}"/>
          </ac:spMkLst>
        </pc:spChg>
        <pc:spChg chg="add mod">
          <ac:chgData name="Bedel, Yanick Noah" userId="c0f86fc0-9b55-4d74-958a-ff514487524f" providerId="ADAL" clId="{5DCB94AE-F125-4388-AAC2-90396541D5B7}" dt="2025-07-08T21:30:44.119" v="3884"/>
          <ac:spMkLst>
            <pc:docMk/>
            <pc:sldMk cId="3112927300" sldId="881"/>
            <ac:spMk id="51" creationId="{666338E8-69C1-BE8B-85BE-C5CFEEC89481}"/>
          </ac:spMkLst>
        </pc:spChg>
        <pc:spChg chg="add 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52" creationId="{FBE7C547-5FB0-026A-C925-07D45E20D057}"/>
          </ac:spMkLst>
        </pc:spChg>
        <pc:spChg chg="add mod">
          <ac:chgData name="Bedel, Yanick Noah" userId="c0f86fc0-9b55-4d74-958a-ff514487524f" providerId="ADAL" clId="{5DCB94AE-F125-4388-AAC2-90396541D5B7}" dt="2025-07-08T21:30:44.119" v="3884"/>
          <ac:spMkLst>
            <pc:docMk/>
            <pc:sldMk cId="3112927300" sldId="881"/>
            <ac:spMk id="53" creationId="{84A59FB8-C600-1BBA-696E-042C1E9E1B3B}"/>
          </ac:spMkLst>
        </pc:spChg>
        <pc:spChg chg="add mod">
          <ac:chgData name="Bedel, Yanick Noah" userId="c0f86fc0-9b55-4d74-958a-ff514487524f" providerId="ADAL" clId="{5DCB94AE-F125-4388-AAC2-90396541D5B7}" dt="2025-07-08T21:43:38.738" v="4035" actId="208"/>
          <ac:spMkLst>
            <pc:docMk/>
            <pc:sldMk cId="3112927300" sldId="881"/>
            <ac:spMk id="54" creationId="{2F2937EC-2713-0DEC-BAFF-53EC80F6BD44}"/>
          </ac:spMkLst>
        </pc:spChg>
        <pc:spChg chg="add del mod">
          <ac:chgData name="Bedel, Yanick Noah" userId="c0f86fc0-9b55-4d74-958a-ff514487524f" providerId="ADAL" clId="{5DCB94AE-F125-4388-AAC2-90396541D5B7}" dt="2025-07-09T06:59:10.979" v="4907" actId="478"/>
          <ac:spMkLst>
            <pc:docMk/>
            <pc:sldMk cId="3112927300" sldId="881"/>
            <ac:spMk id="65" creationId="{CB5CB940-E851-7933-7E34-6311B4B4DB77}"/>
          </ac:spMkLst>
        </pc:spChg>
        <pc:spChg chg="add mod">
          <ac:chgData name="Bedel, Yanick Noah" userId="c0f86fc0-9b55-4d74-958a-ff514487524f" providerId="ADAL" clId="{5DCB94AE-F125-4388-AAC2-90396541D5B7}" dt="2025-07-08T22:02:44.773" v="4270"/>
          <ac:spMkLst>
            <pc:docMk/>
            <pc:sldMk cId="3112927300" sldId="881"/>
            <ac:spMk id="69" creationId="{B438E401-593A-89F2-05BD-2F813D05AB01}"/>
          </ac:spMkLst>
        </pc:spChg>
        <pc:grpChg chg="add mod">
          <ac:chgData name="Bedel, Yanick Noah" userId="c0f86fc0-9b55-4d74-958a-ff514487524f" providerId="ADAL" clId="{5DCB94AE-F125-4388-AAC2-90396541D5B7}" dt="2025-07-08T21:25:46.026" v="3870" actId="164"/>
          <ac:grpSpMkLst>
            <pc:docMk/>
            <pc:sldMk cId="3112927300" sldId="881"/>
            <ac:grpSpMk id="39" creationId="{0F69FF6C-0BC2-8644-FB5D-CD9A2E1F9A17}"/>
          </ac:grpSpMkLst>
        </pc:grpChg>
      </pc:sldChg>
      <pc:sldChg chg="add del mod modShow">
        <pc:chgData name="Bedel, Yanick Noah" userId="c0f86fc0-9b55-4d74-958a-ff514487524f" providerId="ADAL" clId="{5DCB94AE-F125-4388-AAC2-90396541D5B7}" dt="2025-07-08T21:31:24.944" v="3889" actId="47"/>
        <pc:sldMkLst>
          <pc:docMk/>
          <pc:sldMk cId="1396450042" sldId="882"/>
        </pc:sldMkLst>
      </pc:sldChg>
      <pc:sldChg chg="add del">
        <pc:chgData name="Bedel, Yanick Noah" userId="c0f86fc0-9b55-4d74-958a-ff514487524f" providerId="ADAL" clId="{5DCB94AE-F125-4388-AAC2-90396541D5B7}" dt="2025-07-08T22:08:53.390" v="4312" actId="47"/>
        <pc:sldMkLst>
          <pc:docMk/>
          <pc:sldMk cId="1787540368" sldId="882"/>
        </pc:sldMkLst>
      </pc:sldChg>
      <pc:sldChg chg="new del">
        <pc:chgData name="Bedel, Yanick Noah" userId="c0f86fc0-9b55-4d74-958a-ff514487524f" providerId="ADAL" clId="{5DCB94AE-F125-4388-AAC2-90396541D5B7}" dt="2025-07-09T08:24:09.200" v="6125" actId="47"/>
        <pc:sldMkLst>
          <pc:docMk/>
          <pc:sldMk cId="3154882172" sldId="882"/>
        </pc:sldMkLst>
      </pc:sldChg>
      <pc:sldChg chg="add ord">
        <pc:chgData name="Bedel, Yanick Noah" userId="c0f86fc0-9b55-4d74-958a-ff514487524f" providerId="ADAL" clId="{5DCB94AE-F125-4388-AAC2-90396541D5B7}" dt="2025-07-08T22:27:12.708" v="4897"/>
        <pc:sldMkLst>
          <pc:docMk/>
          <pc:sldMk cId="1427468800" sldId="883"/>
        </pc:sldMkLst>
      </pc:sldChg>
      <pc:sldChg chg="add del">
        <pc:chgData name="Bedel, Yanick Noah" userId="c0f86fc0-9b55-4d74-958a-ff514487524f" providerId="ADAL" clId="{5DCB94AE-F125-4388-AAC2-90396541D5B7}" dt="2025-07-08T22:15:09.205" v="4841" actId="47"/>
        <pc:sldMkLst>
          <pc:docMk/>
          <pc:sldMk cId="3188784661" sldId="883"/>
        </pc:sldMkLst>
      </pc:sldChg>
      <pc:sldChg chg="add del">
        <pc:chgData name="Bedel, Yanick Noah" userId="c0f86fc0-9b55-4d74-958a-ff514487524f" providerId="ADAL" clId="{5DCB94AE-F125-4388-AAC2-90396541D5B7}" dt="2025-07-08T21:28:21.716" v="3879"/>
        <pc:sldMkLst>
          <pc:docMk/>
          <pc:sldMk cId="3787768148" sldId="883"/>
        </pc:sldMkLst>
      </pc:sldChg>
      <pc:sldChg chg="addSp modSp add del mod">
        <pc:chgData name="Bedel, Yanick Noah" userId="c0f86fc0-9b55-4d74-958a-ff514487524f" providerId="ADAL" clId="{5DCB94AE-F125-4388-AAC2-90396541D5B7}" dt="2025-07-09T07:52:39.925" v="5391" actId="47"/>
        <pc:sldMkLst>
          <pc:docMk/>
          <pc:sldMk cId="1024520107" sldId="884"/>
        </pc:sldMkLst>
        <pc:spChg chg="mod">
          <ac:chgData name="Bedel, Yanick Noah" userId="c0f86fc0-9b55-4d74-958a-ff514487524f" providerId="ADAL" clId="{5DCB94AE-F125-4388-AAC2-90396541D5B7}" dt="2025-07-09T07:25:00.221" v="4977" actId="207"/>
          <ac:spMkLst>
            <pc:docMk/>
            <pc:sldMk cId="1024520107" sldId="884"/>
            <ac:spMk id="3" creationId="{8DFEBE8E-22D6-7417-2B5D-9FBA64C2985A}"/>
          </ac:spMkLst>
        </pc:spChg>
        <pc:spChg chg="add mod">
          <ac:chgData name="Bedel, Yanick Noah" userId="c0f86fc0-9b55-4d74-958a-ff514487524f" providerId="ADAL" clId="{5DCB94AE-F125-4388-AAC2-90396541D5B7}" dt="2025-07-09T07:25:09.646" v="4978" actId="207"/>
          <ac:spMkLst>
            <pc:docMk/>
            <pc:sldMk cId="1024520107" sldId="884"/>
            <ac:spMk id="9" creationId="{16F62D76-B7DC-F975-7548-A960AEC313CA}"/>
          </ac:spMkLst>
        </pc:spChg>
        <pc:spChg chg="mod">
          <ac:chgData name="Bedel, Yanick Noah" userId="c0f86fc0-9b55-4d74-958a-ff514487524f" providerId="ADAL" clId="{5DCB94AE-F125-4388-AAC2-90396541D5B7}" dt="2025-07-09T07:24:54.295" v="4976" actId="207"/>
          <ac:spMkLst>
            <pc:docMk/>
            <pc:sldMk cId="1024520107" sldId="884"/>
            <ac:spMk id="10" creationId="{463B2441-718C-76C0-155B-F8B9D94C7AEC}"/>
          </ac:spMkLst>
        </pc:spChg>
        <pc:spChg chg="mod">
          <ac:chgData name="Bedel, Yanick Noah" userId="c0f86fc0-9b55-4d74-958a-ff514487524f" providerId="ADAL" clId="{5DCB94AE-F125-4388-AAC2-90396541D5B7}" dt="2025-07-09T07:25:16.227" v="4979" actId="207"/>
          <ac:spMkLst>
            <pc:docMk/>
            <pc:sldMk cId="1024520107" sldId="884"/>
            <ac:spMk id="12" creationId="{688E111B-C4CA-4ED8-1EA1-1845550437C8}"/>
          </ac:spMkLst>
        </pc:spChg>
        <pc:spChg chg="add mod">
          <ac:chgData name="Bedel, Yanick Noah" userId="c0f86fc0-9b55-4d74-958a-ff514487524f" providerId="ADAL" clId="{5DCB94AE-F125-4388-AAC2-90396541D5B7}" dt="2025-07-09T07:24:14.794" v="4972" actId="14100"/>
          <ac:spMkLst>
            <pc:docMk/>
            <pc:sldMk cId="1024520107" sldId="884"/>
            <ac:spMk id="13" creationId="{49E747D8-1567-3014-20A7-AFA1A2ADC5FF}"/>
          </ac:spMkLst>
        </pc:spChg>
        <pc:spChg chg="mod">
          <ac:chgData name="Bedel, Yanick Noah" userId="c0f86fc0-9b55-4d74-958a-ff514487524f" providerId="ADAL" clId="{5DCB94AE-F125-4388-AAC2-90396541D5B7}" dt="2025-07-09T07:24:22.688" v="4974" actId="14100"/>
          <ac:spMkLst>
            <pc:docMk/>
            <pc:sldMk cId="1024520107" sldId="884"/>
            <ac:spMk id="16" creationId="{8FBAFF28-6024-FE1D-8CB7-4080B11663BA}"/>
          </ac:spMkLst>
        </pc:spChg>
        <pc:spChg chg="mod">
          <ac:chgData name="Bedel, Yanick Noah" userId="c0f86fc0-9b55-4d74-958a-ff514487524f" providerId="ADAL" clId="{5DCB94AE-F125-4388-AAC2-90396541D5B7}" dt="2025-07-09T07:23:34.820" v="4929" actId="14100"/>
          <ac:spMkLst>
            <pc:docMk/>
            <pc:sldMk cId="1024520107" sldId="884"/>
            <ac:spMk id="18" creationId="{3EAF818E-FF46-B007-D7E7-437DD3CD38E0}"/>
          </ac:spMkLst>
        </pc:spChg>
        <pc:spChg chg="add mod">
          <ac:chgData name="Bedel, Yanick Noah" userId="c0f86fc0-9b55-4d74-958a-ff514487524f" providerId="ADAL" clId="{5DCB94AE-F125-4388-AAC2-90396541D5B7}" dt="2025-07-09T07:23:34.820" v="4929" actId="14100"/>
          <ac:spMkLst>
            <pc:docMk/>
            <pc:sldMk cId="1024520107" sldId="884"/>
            <ac:spMk id="19" creationId="{09B10FCD-F83A-6DE0-D19E-9FB40E42B501}"/>
          </ac:spMkLst>
        </pc:spChg>
        <pc:spChg chg="add mod">
          <ac:chgData name="Bedel, Yanick Noah" userId="c0f86fc0-9b55-4d74-958a-ff514487524f" providerId="ADAL" clId="{5DCB94AE-F125-4388-AAC2-90396541D5B7}" dt="2025-07-09T07:24:03.537" v="4970" actId="1036"/>
          <ac:spMkLst>
            <pc:docMk/>
            <pc:sldMk cId="1024520107" sldId="884"/>
            <ac:spMk id="25" creationId="{00DB3D4F-4203-E56D-C9ED-8960A2FE6885}"/>
          </ac:spMkLst>
        </pc:spChg>
        <pc:spChg chg="mod">
          <ac:chgData name="Bedel, Yanick Noah" userId="c0f86fc0-9b55-4d74-958a-ff514487524f" providerId="ADAL" clId="{5DCB94AE-F125-4388-AAC2-90396541D5B7}" dt="2025-07-09T07:23:49.740" v="4930" actId="14100"/>
          <ac:spMkLst>
            <pc:docMk/>
            <pc:sldMk cId="1024520107" sldId="884"/>
            <ac:spMk id="27" creationId="{384D06C7-B4C1-9653-9D16-375E4CB6FE15}"/>
          </ac:spMkLst>
        </pc:spChg>
        <pc:spChg chg="mod">
          <ac:chgData name="Bedel, Yanick Noah" userId="c0f86fc0-9b55-4d74-958a-ff514487524f" providerId="ADAL" clId="{5DCB94AE-F125-4388-AAC2-90396541D5B7}" dt="2025-07-09T07:25:37.236" v="4981" actId="2085"/>
          <ac:spMkLst>
            <pc:docMk/>
            <pc:sldMk cId="1024520107" sldId="884"/>
            <ac:spMk id="28" creationId="{40777197-6ADE-5745-2BFF-17E5BA94C305}"/>
          </ac:spMkLst>
        </pc:spChg>
        <pc:spChg chg="mod">
          <ac:chgData name="Bedel, Yanick Noah" userId="c0f86fc0-9b55-4d74-958a-ff514487524f" providerId="ADAL" clId="{5DCB94AE-F125-4388-AAC2-90396541D5B7}" dt="2025-07-09T07:25:43.678" v="4983" actId="207"/>
          <ac:spMkLst>
            <pc:docMk/>
            <pc:sldMk cId="1024520107" sldId="884"/>
            <ac:spMk id="29" creationId="{1CF97599-5CD6-793F-24B7-4A5A7C277A24}"/>
          </ac:spMkLst>
        </pc:spChg>
        <pc:spChg chg="mod">
          <ac:chgData name="Bedel, Yanick Noah" userId="c0f86fc0-9b55-4d74-958a-ff514487524f" providerId="ADAL" clId="{5DCB94AE-F125-4388-AAC2-90396541D5B7}" dt="2025-07-09T07:25:43.678" v="4983" actId="207"/>
          <ac:spMkLst>
            <pc:docMk/>
            <pc:sldMk cId="1024520107" sldId="884"/>
            <ac:spMk id="30" creationId="{1904D8AB-139B-C1DA-AF21-AA05F95FB4DE}"/>
          </ac:spMkLst>
        </pc:spChg>
        <pc:spChg chg="mod">
          <ac:chgData name="Bedel, Yanick Noah" userId="c0f86fc0-9b55-4d74-958a-ff514487524f" providerId="ADAL" clId="{5DCB94AE-F125-4388-AAC2-90396541D5B7}" dt="2025-07-09T07:25:37.236" v="4981" actId="2085"/>
          <ac:spMkLst>
            <pc:docMk/>
            <pc:sldMk cId="1024520107" sldId="884"/>
            <ac:spMk id="31" creationId="{9576CC3E-1339-7405-2E41-0CDF770ADC33}"/>
          </ac:spMkLst>
        </pc:spChg>
        <pc:spChg chg="mod">
          <ac:chgData name="Bedel, Yanick Noah" userId="c0f86fc0-9b55-4d74-958a-ff514487524f" providerId="ADAL" clId="{5DCB94AE-F125-4388-AAC2-90396541D5B7}" dt="2025-07-09T07:24:03.537" v="4970" actId="1036"/>
          <ac:spMkLst>
            <pc:docMk/>
            <pc:sldMk cId="1024520107" sldId="884"/>
            <ac:spMk id="33" creationId="{A119A646-8605-7B1E-95A8-1908056FF1ED}"/>
          </ac:spMkLst>
        </pc:spChg>
        <pc:spChg chg="add mod">
          <ac:chgData name="Bedel, Yanick Noah" userId="c0f86fc0-9b55-4d74-958a-ff514487524f" providerId="ADAL" clId="{5DCB94AE-F125-4388-AAC2-90396541D5B7}" dt="2025-07-09T07:25:55.402" v="4985" actId="208"/>
          <ac:spMkLst>
            <pc:docMk/>
            <pc:sldMk cId="1024520107" sldId="884"/>
            <ac:spMk id="34" creationId="{A121E1F5-0A51-27BA-D9FF-2F822097FDF4}"/>
          </ac:spMkLst>
        </pc:spChg>
        <pc:spChg chg="mod">
          <ac:chgData name="Bedel, Yanick Noah" userId="c0f86fc0-9b55-4d74-958a-ff514487524f" providerId="ADAL" clId="{5DCB94AE-F125-4388-AAC2-90396541D5B7}" dt="2025-07-09T07:26:27.763" v="5017" actId="20577"/>
          <ac:spMkLst>
            <pc:docMk/>
            <pc:sldMk cId="1024520107" sldId="884"/>
            <ac:spMk id="35" creationId="{C758F287-E22E-0416-15E8-B6ABEE01E5D6}"/>
          </ac:spMkLst>
        </pc:spChg>
        <pc:spChg chg="mod">
          <ac:chgData name="Bedel, Yanick Noah" userId="c0f86fc0-9b55-4d74-958a-ff514487524f" providerId="ADAL" clId="{5DCB94AE-F125-4388-AAC2-90396541D5B7}" dt="2025-07-09T07:23:12.540" v="4928"/>
          <ac:spMkLst>
            <pc:docMk/>
            <pc:sldMk cId="1024520107" sldId="884"/>
            <ac:spMk id="38" creationId="{F9F80F8D-D708-CA4A-7A23-A5024FB4FDC1}"/>
          </ac:spMkLst>
        </pc:spChg>
        <pc:spChg chg="mod">
          <ac:chgData name="Bedel, Yanick Noah" userId="c0f86fc0-9b55-4d74-958a-ff514487524f" providerId="ADAL" clId="{5DCB94AE-F125-4388-AAC2-90396541D5B7}" dt="2025-07-09T07:23:12.540" v="4928"/>
          <ac:spMkLst>
            <pc:docMk/>
            <pc:sldMk cId="1024520107" sldId="884"/>
            <ac:spMk id="39" creationId="{DD46C35A-6C96-56CA-DFF3-BAACB4A2D9AC}"/>
          </ac:spMkLst>
        </pc:spChg>
        <pc:spChg chg="mod">
          <ac:chgData name="Bedel, Yanick Noah" userId="c0f86fc0-9b55-4d74-958a-ff514487524f" providerId="ADAL" clId="{5DCB94AE-F125-4388-AAC2-90396541D5B7}" dt="2025-07-09T07:23:12.540" v="4928"/>
          <ac:spMkLst>
            <pc:docMk/>
            <pc:sldMk cId="1024520107" sldId="884"/>
            <ac:spMk id="45" creationId="{7A6CFD98-D213-FDFE-8361-68074C5CE77A}"/>
          </ac:spMkLst>
        </pc:spChg>
        <pc:spChg chg="mod">
          <ac:chgData name="Bedel, Yanick Noah" userId="c0f86fc0-9b55-4d74-958a-ff514487524f" providerId="ADAL" clId="{5DCB94AE-F125-4388-AAC2-90396541D5B7}" dt="2025-07-09T07:23:12.540" v="4928"/>
          <ac:spMkLst>
            <pc:docMk/>
            <pc:sldMk cId="1024520107" sldId="884"/>
            <ac:spMk id="47" creationId="{6AC4F043-C38F-629C-C696-9C10B10DBFB3}"/>
          </ac:spMkLst>
        </pc:spChg>
        <pc:spChg chg="mod">
          <ac:chgData name="Bedel, Yanick Noah" userId="c0f86fc0-9b55-4d74-958a-ff514487524f" providerId="ADAL" clId="{5DCB94AE-F125-4388-AAC2-90396541D5B7}" dt="2025-07-09T07:23:12.540" v="4928"/>
          <ac:spMkLst>
            <pc:docMk/>
            <pc:sldMk cId="1024520107" sldId="884"/>
            <ac:spMk id="48" creationId="{181F2256-1990-259D-B9BA-30CC9E84A3F7}"/>
          </ac:spMkLst>
        </pc:spChg>
        <pc:grpChg chg="mod ord">
          <ac:chgData name="Bedel, Yanick Noah" userId="c0f86fc0-9b55-4d74-958a-ff514487524f" providerId="ADAL" clId="{5DCB94AE-F125-4388-AAC2-90396541D5B7}" dt="2025-07-09T07:26:54.798" v="5018" actId="166"/>
          <ac:grpSpMkLst>
            <pc:docMk/>
            <pc:sldMk cId="1024520107" sldId="884"/>
            <ac:grpSpMk id="22" creationId="{D5CF3991-C0D0-901F-DD90-ACBACC728986}"/>
          </ac:grpSpMkLst>
        </pc:grpChg>
        <pc:grpChg chg="ord">
          <ac:chgData name="Bedel, Yanick Noah" userId="c0f86fc0-9b55-4d74-958a-ff514487524f" providerId="ADAL" clId="{5DCB94AE-F125-4388-AAC2-90396541D5B7}" dt="2025-07-09T07:26:54.798" v="5018" actId="166"/>
          <ac:grpSpMkLst>
            <pc:docMk/>
            <pc:sldMk cId="1024520107" sldId="884"/>
            <ac:grpSpMk id="23" creationId="{534B961F-7964-E8D4-EB4B-6B8B079C4FCC}"/>
          </ac:grpSpMkLst>
        </pc:grpChg>
        <pc:grpChg chg="ord">
          <ac:chgData name="Bedel, Yanick Noah" userId="c0f86fc0-9b55-4d74-958a-ff514487524f" providerId="ADAL" clId="{5DCB94AE-F125-4388-AAC2-90396541D5B7}" dt="2025-07-09T07:26:54.798" v="5018" actId="166"/>
          <ac:grpSpMkLst>
            <pc:docMk/>
            <pc:sldMk cId="1024520107" sldId="884"/>
            <ac:grpSpMk id="24" creationId="{3561FF9E-E472-D6D6-D156-9BB763451D3D}"/>
          </ac:grpSpMkLst>
        </pc:grpChg>
      </pc:sldChg>
      <pc:sldChg chg="addSp delSp modSp add del mod">
        <pc:chgData name="Bedel, Yanick Noah" userId="c0f86fc0-9b55-4d74-958a-ff514487524f" providerId="ADAL" clId="{5DCB94AE-F125-4388-AAC2-90396541D5B7}" dt="2025-07-09T07:52:34.792" v="5390" actId="47"/>
        <pc:sldMkLst>
          <pc:docMk/>
          <pc:sldMk cId="630901541" sldId="885"/>
        </pc:sldMkLst>
        <pc:spChg chg="mod">
          <ac:chgData name="Bedel, Yanick Noah" userId="c0f86fc0-9b55-4d74-958a-ff514487524f" providerId="ADAL" clId="{5DCB94AE-F125-4388-AAC2-90396541D5B7}" dt="2025-07-09T07:39:48.370" v="5138" actId="207"/>
          <ac:spMkLst>
            <pc:docMk/>
            <pc:sldMk cId="630901541" sldId="885"/>
            <ac:spMk id="3" creationId="{E4D4B09F-7ECF-26C0-7E1F-E0B93D9D6572}"/>
          </ac:spMkLst>
        </pc:spChg>
        <pc:spChg chg="mod">
          <ac:chgData name="Bedel, Yanick Noah" userId="c0f86fc0-9b55-4d74-958a-ff514487524f" providerId="ADAL" clId="{5DCB94AE-F125-4388-AAC2-90396541D5B7}" dt="2025-07-09T07:42:04.166" v="5152" actId="207"/>
          <ac:spMkLst>
            <pc:docMk/>
            <pc:sldMk cId="630901541" sldId="885"/>
            <ac:spMk id="9" creationId="{727C628E-4C45-4BEB-105B-C98A89D49F59}"/>
          </ac:spMkLst>
        </pc:spChg>
        <pc:spChg chg="mod">
          <ac:chgData name="Bedel, Yanick Noah" userId="c0f86fc0-9b55-4d74-958a-ff514487524f" providerId="ADAL" clId="{5DCB94AE-F125-4388-AAC2-90396541D5B7}" dt="2025-07-09T07:42:04.166" v="5152" actId="207"/>
          <ac:spMkLst>
            <pc:docMk/>
            <pc:sldMk cId="630901541" sldId="885"/>
            <ac:spMk id="10" creationId="{27C163FE-D0FA-4B11-3C65-0C7783A01601}"/>
          </ac:spMkLst>
        </pc:spChg>
        <pc:spChg chg="mod topLvl">
          <ac:chgData name="Bedel, Yanick Noah" userId="c0f86fc0-9b55-4d74-958a-ff514487524f" providerId="ADAL" clId="{5DCB94AE-F125-4388-AAC2-90396541D5B7}" dt="2025-07-09T07:46:58.002" v="5246" actId="165"/>
          <ac:spMkLst>
            <pc:docMk/>
            <pc:sldMk cId="630901541" sldId="885"/>
            <ac:spMk id="20" creationId="{CDBE6C94-36B7-2505-6673-1A1AF92914AE}"/>
          </ac:spMkLst>
        </pc:spChg>
        <pc:spChg chg="mod">
          <ac:chgData name="Bedel, Yanick Noah" userId="c0f86fc0-9b55-4d74-958a-ff514487524f" providerId="ADAL" clId="{5DCB94AE-F125-4388-AAC2-90396541D5B7}" dt="2025-07-09T07:41:01.624" v="5145" actId="692"/>
          <ac:spMkLst>
            <pc:docMk/>
            <pc:sldMk cId="630901541" sldId="885"/>
            <ac:spMk id="28" creationId="{D2FD8C95-1B15-532C-8EF7-94D5317D856A}"/>
          </ac:spMkLst>
        </pc:spChg>
        <pc:spChg chg="mod">
          <ac:chgData name="Bedel, Yanick Noah" userId="c0f86fc0-9b55-4d74-958a-ff514487524f" providerId="ADAL" clId="{5DCB94AE-F125-4388-AAC2-90396541D5B7}" dt="2025-07-09T07:41:06.695" v="5146" actId="692"/>
          <ac:spMkLst>
            <pc:docMk/>
            <pc:sldMk cId="630901541" sldId="885"/>
            <ac:spMk id="29" creationId="{51941241-8FA5-7FD7-ED36-1198B471ECE0}"/>
          </ac:spMkLst>
        </pc:spChg>
        <pc:spChg chg="mod">
          <ac:chgData name="Bedel, Yanick Noah" userId="c0f86fc0-9b55-4d74-958a-ff514487524f" providerId="ADAL" clId="{5DCB94AE-F125-4388-AAC2-90396541D5B7}" dt="2025-07-09T07:41:06.695" v="5146" actId="692"/>
          <ac:spMkLst>
            <pc:docMk/>
            <pc:sldMk cId="630901541" sldId="885"/>
            <ac:spMk id="30" creationId="{4B19954F-ED1E-9E65-21D1-272AD8FD965A}"/>
          </ac:spMkLst>
        </pc:spChg>
        <pc:spChg chg="mod">
          <ac:chgData name="Bedel, Yanick Noah" userId="c0f86fc0-9b55-4d74-958a-ff514487524f" providerId="ADAL" clId="{5DCB94AE-F125-4388-AAC2-90396541D5B7}" dt="2025-07-09T07:41:01.624" v="5145" actId="692"/>
          <ac:spMkLst>
            <pc:docMk/>
            <pc:sldMk cId="630901541" sldId="885"/>
            <ac:spMk id="31" creationId="{5F680C77-33A7-9CB1-A944-402916ECE523}"/>
          </ac:spMkLst>
        </pc:spChg>
        <pc:spChg chg="add mod ord topLvl">
          <ac:chgData name="Bedel, Yanick Noah" userId="c0f86fc0-9b55-4d74-958a-ff514487524f" providerId="ADAL" clId="{5DCB94AE-F125-4388-AAC2-90396541D5B7}" dt="2025-07-09T07:46:58.002" v="5246" actId="165"/>
          <ac:spMkLst>
            <pc:docMk/>
            <pc:sldMk cId="630901541" sldId="885"/>
            <ac:spMk id="51" creationId="{EA2C0335-FCBD-217E-57AB-6E08F48A34CC}"/>
          </ac:spMkLst>
        </pc:spChg>
        <pc:spChg chg="add mod ord topLvl">
          <ac:chgData name="Bedel, Yanick Noah" userId="c0f86fc0-9b55-4d74-958a-ff514487524f" providerId="ADAL" clId="{5DCB94AE-F125-4388-AAC2-90396541D5B7}" dt="2025-07-09T07:46:58.002" v="5246" actId="165"/>
          <ac:spMkLst>
            <pc:docMk/>
            <pc:sldMk cId="630901541" sldId="885"/>
            <ac:spMk id="52" creationId="{C442AC71-59B4-BD08-30A3-05671F7E3D70}"/>
          </ac:spMkLst>
        </pc:spChg>
        <pc:spChg chg="mod">
          <ac:chgData name="Bedel, Yanick Noah" userId="c0f86fc0-9b55-4d74-958a-ff514487524f" providerId="ADAL" clId="{5DCB94AE-F125-4388-AAC2-90396541D5B7}" dt="2025-07-09T07:31:53.531" v="5065"/>
          <ac:spMkLst>
            <pc:docMk/>
            <pc:sldMk cId="630901541" sldId="885"/>
            <ac:spMk id="55" creationId="{7050FFAD-A7BF-DB1D-C6DA-7BFFD857DA58}"/>
          </ac:spMkLst>
        </pc:spChg>
        <pc:spChg chg="mod">
          <ac:chgData name="Bedel, Yanick Noah" userId="c0f86fc0-9b55-4d74-958a-ff514487524f" providerId="ADAL" clId="{5DCB94AE-F125-4388-AAC2-90396541D5B7}" dt="2025-07-09T07:31:53.531" v="5065"/>
          <ac:spMkLst>
            <pc:docMk/>
            <pc:sldMk cId="630901541" sldId="885"/>
            <ac:spMk id="56" creationId="{2A9E7C65-3F77-DB97-CB4C-6934F8EE83AF}"/>
          </ac:spMkLst>
        </pc:spChg>
        <pc:spChg chg="mod">
          <ac:chgData name="Bedel, Yanick Noah" userId="c0f86fc0-9b55-4d74-958a-ff514487524f" providerId="ADAL" clId="{5DCB94AE-F125-4388-AAC2-90396541D5B7}" dt="2025-07-09T07:31:53.531" v="5065"/>
          <ac:spMkLst>
            <pc:docMk/>
            <pc:sldMk cId="630901541" sldId="885"/>
            <ac:spMk id="57" creationId="{ABEB840D-8069-2342-E885-53A464BD6CB3}"/>
          </ac:spMkLst>
        </pc:spChg>
        <pc:spChg chg="mod">
          <ac:chgData name="Bedel, Yanick Noah" userId="c0f86fc0-9b55-4d74-958a-ff514487524f" providerId="ADAL" clId="{5DCB94AE-F125-4388-AAC2-90396541D5B7}" dt="2025-07-09T07:31:53.732" v="5066"/>
          <ac:spMkLst>
            <pc:docMk/>
            <pc:sldMk cId="630901541" sldId="885"/>
            <ac:spMk id="60" creationId="{BD15ECE8-785B-98DB-16F5-28C806FF6805}"/>
          </ac:spMkLst>
        </pc:spChg>
        <pc:spChg chg="mod">
          <ac:chgData name="Bedel, Yanick Noah" userId="c0f86fc0-9b55-4d74-958a-ff514487524f" providerId="ADAL" clId="{5DCB94AE-F125-4388-AAC2-90396541D5B7}" dt="2025-07-09T07:31:53.732" v="5066"/>
          <ac:spMkLst>
            <pc:docMk/>
            <pc:sldMk cId="630901541" sldId="885"/>
            <ac:spMk id="61" creationId="{A4C88290-B690-35E6-3115-D8F97D42BCD2}"/>
          </ac:spMkLst>
        </pc:spChg>
        <pc:spChg chg="mod">
          <ac:chgData name="Bedel, Yanick Noah" userId="c0f86fc0-9b55-4d74-958a-ff514487524f" providerId="ADAL" clId="{5DCB94AE-F125-4388-AAC2-90396541D5B7}" dt="2025-07-09T07:31:53.732" v="5066"/>
          <ac:spMkLst>
            <pc:docMk/>
            <pc:sldMk cId="630901541" sldId="885"/>
            <ac:spMk id="62" creationId="{DC6CB870-80C6-C10B-8D23-3B35C2AC83E3}"/>
          </ac:spMkLst>
        </pc:spChg>
        <pc:spChg chg="mod">
          <ac:chgData name="Bedel, Yanick Noah" userId="c0f86fc0-9b55-4d74-958a-ff514487524f" providerId="ADAL" clId="{5DCB94AE-F125-4388-AAC2-90396541D5B7}" dt="2025-07-09T07:31:58.070" v="5069"/>
          <ac:spMkLst>
            <pc:docMk/>
            <pc:sldMk cId="630901541" sldId="885"/>
            <ac:spMk id="65" creationId="{372E01D1-637E-81ED-F655-D08252D96C52}"/>
          </ac:spMkLst>
        </pc:spChg>
        <pc:spChg chg="mod">
          <ac:chgData name="Bedel, Yanick Noah" userId="c0f86fc0-9b55-4d74-958a-ff514487524f" providerId="ADAL" clId="{5DCB94AE-F125-4388-AAC2-90396541D5B7}" dt="2025-07-09T07:31:58.070" v="5069"/>
          <ac:spMkLst>
            <pc:docMk/>
            <pc:sldMk cId="630901541" sldId="885"/>
            <ac:spMk id="66" creationId="{C517E865-EA96-5A7A-3F47-F7F3E41E9E97}"/>
          </ac:spMkLst>
        </pc:spChg>
        <pc:spChg chg="mod">
          <ac:chgData name="Bedel, Yanick Noah" userId="c0f86fc0-9b55-4d74-958a-ff514487524f" providerId="ADAL" clId="{5DCB94AE-F125-4388-AAC2-90396541D5B7}" dt="2025-07-09T07:31:58.070" v="5069"/>
          <ac:spMkLst>
            <pc:docMk/>
            <pc:sldMk cId="630901541" sldId="885"/>
            <ac:spMk id="67" creationId="{FE13E70B-7CB0-9304-357C-37C91F0D53C8}"/>
          </ac:spMkLst>
        </pc:spChg>
        <pc:spChg chg="mod topLvl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70" creationId="{12809C0D-C2AA-5C80-3AC7-4C3737506EBA}"/>
          </ac:spMkLst>
        </pc:spChg>
        <pc:spChg chg="mod topLvl">
          <ac:chgData name="Bedel, Yanick Noah" userId="c0f86fc0-9b55-4d74-958a-ff514487524f" providerId="ADAL" clId="{5DCB94AE-F125-4388-AAC2-90396541D5B7}" dt="2025-07-09T07:44:10.191" v="5236" actId="1076"/>
          <ac:spMkLst>
            <pc:docMk/>
            <pc:sldMk cId="630901541" sldId="885"/>
            <ac:spMk id="71" creationId="{DCA65161-EFAF-46AB-52D5-B3C195788395}"/>
          </ac:spMkLst>
        </pc:spChg>
        <pc:spChg chg="mod topLvl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72" creationId="{851E01F4-FE46-3489-26EA-8D0E5229562D}"/>
          </ac:spMkLst>
        </pc:spChg>
        <pc:spChg chg="add mod">
          <ac:chgData name="Bedel, Yanick Noah" userId="c0f86fc0-9b55-4d74-958a-ff514487524f" providerId="ADAL" clId="{5DCB94AE-F125-4388-AAC2-90396541D5B7}" dt="2025-07-09T07:47:38.396" v="5360" actId="14861"/>
          <ac:spMkLst>
            <pc:docMk/>
            <pc:sldMk cId="630901541" sldId="885"/>
            <ac:spMk id="74" creationId="{19F502A2-89BC-D4EC-077C-71DB0B145A18}"/>
          </ac:spMkLst>
        </pc:spChg>
        <pc:spChg chg="add mod">
          <ac:chgData name="Bedel, Yanick Noah" userId="c0f86fc0-9b55-4d74-958a-ff514487524f" providerId="ADAL" clId="{5DCB94AE-F125-4388-AAC2-90396541D5B7}" dt="2025-07-09T07:47:10.541" v="5251" actId="207"/>
          <ac:spMkLst>
            <pc:docMk/>
            <pc:sldMk cId="630901541" sldId="885"/>
            <ac:spMk id="75" creationId="{306C0ACB-C146-4223-3A4A-6A93A7130B4F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76" creationId="{A9A536CF-A64F-DA2E-479E-86C8159B2C02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78" creationId="{CAE8B483-6B1F-E9FF-9507-B4C47CDD39B6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79" creationId="{80031584-E4F0-3D3B-ADAE-240BF90645CE}"/>
          </ac:spMkLst>
        </pc:spChg>
        <pc:spChg chg="add mod">
          <ac:chgData name="Bedel, Yanick Noah" userId="c0f86fc0-9b55-4d74-958a-ff514487524f" providerId="ADAL" clId="{5DCB94AE-F125-4388-AAC2-90396541D5B7}" dt="2025-07-09T07:48:29.837" v="5369" actId="14861"/>
          <ac:spMkLst>
            <pc:docMk/>
            <pc:sldMk cId="630901541" sldId="885"/>
            <ac:spMk id="80" creationId="{A495B250-78CD-82FA-B5D1-E1C5B50EAC25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82" creationId="{07806797-29FC-2D9F-A54F-2AE94AC72C4A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83" creationId="{9FED152A-3B3D-4D96-F394-FBB14DAD2F5E}"/>
          </ac:spMkLst>
        </pc:spChg>
        <pc:spChg chg="add mod">
          <ac:chgData name="Bedel, Yanick Noah" userId="c0f86fc0-9b55-4d74-958a-ff514487524f" providerId="ADAL" clId="{5DCB94AE-F125-4388-AAC2-90396541D5B7}" dt="2025-07-09T07:49:03.768" v="5373" actId="207"/>
          <ac:spMkLst>
            <pc:docMk/>
            <pc:sldMk cId="630901541" sldId="885"/>
            <ac:spMk id="84" creationId="{C2A96683-AD39-15EC-7F2F-829EAF63081B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86" creationId="{CD1F65F8-0A62-B458-0362-E470369F8FB5}"/>
          </ac:spMkLst>
        </pc:spChg>
        <pc:spChg chg="add mod">
          <ac:chgData name="Bedel, Yanick Noah" userId="c0f86fc0-9b55-4d74-958a-ff514487524f" providerId="ADAL" clId="{5DCB94AE-F125-4388-AAC2-90396541D5B7}" dt="2025-07-09T07:49:03.768" v="5373" actId="207"/>
          <ac:spMkLst>
            <pc:docMk/>
            <pc:sldMk cId="630901541" sldId="885"/>
            <ac:spMk id="87" creationId="{19918040-8994-2D12-BD51-CD390CD72821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88" creationId="{9F060CBB-1B18-399D-2044-3306E0A142FC}"/>
          </ac:spMkLst>
        </pc:spChg>
        <pc:spChg chg="add mod">
          <ac:chgData name="Bedel, Yanick Noah" userId="c0f86fc0-9b55-4d74-958a-ff514487524f" providerId="ADAL" clId="{5DCB94AE-F125-4388-AAC2-90396541D5B7}" dt="2025-07-09T07:49:19.071" v="5374" actId="1076"/>
          <ac:spMkLst>
            <pc:docMk/>
            <pc:sldMk cId="630901541" sldId="885"/>
            <ac:spMk id="90" creationId="{5C581B9F-0DF7-D690-18EF-49BE1E2CDC79}"/>
          </ac:spMkLst>
        </pc:spChg>
        <pc:spChg chg="add mod">
          <ac:chgData name="Bedel, Yanick Noah" userId="c0f86fc0-9b55-4d74-958a-ff514487524f" providerId="ADAL" clId="{5DCB94AE-F125-4388-AAC2-90396541D5B7}" dt="2025-07-09T07:49:03.768" v="5373" actId="207"/>
          <ac:spMkLst>
            <pc:docMk/>
            <pc:sldMk cId="630901541" sldId="885"/>
            <ac:spMk id="91" creationId="{183B9994-D6CA-CE5B-C825-283774EFE50C}"/>
          </ac:spMkLst>
        </pc:spChg>
        <pc:spChg chg="add mod">
          <ac:chgData name="Bedel, Yanick Noah" userId="c0f86fc0-9b55-4d74-958a-ff514487524f" providerId="ADAL" clId="{5DCB94AE-F125-4388-AAC2-90396541D5B7}" dt="2025-07-09T07:49:03.768" v="5373" actId="207"/>
          <ac:spMkLst>
            <pc:docMk/>
            <pc:sldMk cId="630901541" sldId="885"/>
            <ac:spMk id="92" creationId="{66275F39-4E63-7B0F-8447-84ED73BF2E38}"/>
          </ac:spMkLst>
        </pc:spChg>
        <pc:grpChg chg="del mod">
          <ac:chgData name="Bedel, Yanick Noah" userId="c0f86fc0-9b55-4d74-958a-ff514487524f" providerId="ADAL" clId="{5DCB94AE-F125-4388-AAC2-90396541D5B7}" dt="2025-07-09T07:30:57.854" v="5058" actId="478"/>
          <ac:grpSpMkLst>
            <pc:docMk/>
            <pc:sldMk cId="630901541" sldId="885"/>
            <ac:grpSpMk id="22" creationId="{B42068AA-A15B-DDD7-8FE3-6BC821A2B821}"/>
          </ac:grpSpMkLst>
        </pc:grpChg>
        <pc:grpChg chg="del mod">
          <ac:chgData name="Bedel, Yanick Noah" userId="c0f86fc0-9b55-4d74-958a-ff514487524f" providerId="ADAL" clId="{5DCB94AE-F125-4388-AAC2-90396541D5B7}" dt="2025-07-09T07:31:50.634" v="5064" actId="478"/>
          <ac:grpSpMkLst>
            <pc:docMk/>
            <pc:sldMk cId="630901541" sldId="885"/>
            <ac:grpSpMk id="23" creationId="{3ECB1D28-AF66-8569-346D-28EAC0F26D79}"/>
          </ac:grpSpMkLst>
        </pc:grpChg>
        <pc:grpChg chg="del">
          <ac:chgData name="Bedel, Yanick Noah" userId="c0f86fc0-9b55-4d74-958a-ff514487524f" providerId="ADAL" clId="{5DCB94AE-F125-4388-AAC2-90396541D5B7}" dt="2025-07-09T07:29:24.408" v="5041" actId="165"/>
          <ac:grpSpMkLst>
            <pc:docMk/>
            <pc:sldMk cId="630901541" sldId="885"/>
            <ac:grpSpMk id="24" creationId="{097207CB-5F73-79EA-6B8D-AC8B6BC7380F}"/>
          </ac:grpSpMkLst>
        </pc:grpChg>
        <pc:grpChg chg="add del mod ord">
          <ac:chgData name="Bedel, Yanick Noah" userId="c0f86fc0-9b55-4d74-958a-ff514487524f" providerId="ADAL" clId="{5DCB94AE-F125-4388-AAC2-90396541D5B7}" dt="2025-07-09T07:46:58.002" v="5246" actId="165"/>
          <ac:grpSpMkLst>
            <pc:docMk/>
            <pc:sldMk cId="630901541" sldId="885"/>
            <ac:grpSpMk id="53" creationId="{4A56B168-CE55-F6FB-2914-8A1D22A4C6DA}"/>
          </ac:grpSpMkLst>
        </pc:grpChg>
        <pc:grpChg chg="add mod">
          <ac:chgData name="Bedel, Yanick Noah" userId="c0f86fc0-9b55-4d74-958a-ff514487524f" providerId="ADAL" clId="{5DCB94AE-F125-4388-AAC2-90396541D5B7}" dt="2025-07-09T07:36:34.799" v="5137" actId="554"/>
          <ac:grpSpMkLst>
            <pc:docMk/>
            <pc:sldMk cId="630901541" sldId="885"/>
            <ac:grpSpMk id="54" creationId="{9002C6BC-0273-2753-BB15-FB694B424157}"/>
          </ac:grpSpMkLst>
        </pc:grpChg>
        <pc:grpChg chg="add mod">
          <ac:chgData name="Bedel, Yanick Noah" userId="c0f86fc0-9b55-4d74-958a-ff514487524f" providerId="ADAL" clId="{5DCB94AE-F125-4388-AAC2-90396541D5B7}" dt="2025-07-09T07:36:20.823" v="5124" actId="555"/>
          <ac:grpSpMkLst>
            <pc:docMk/>
            <pc:sldMk cId="630901541" sldId="885"/>
            <ac:grpSpMk id="59" creationId="{D72BF914-5153-A447-91C3-F53926FBCC34}"/>
          </ac:grpSpMkLst>
        </pc:grpChg>
        <pc:grpChg chg="add mod">
          <ac:chgData name="Bedel, Yanick Noah" userId="c0f86fc0-9b55-4d74-958a-ff514487524f" providerId="ADAL" clId="{5DCB94AE-F125-4388-AAC2-90396541D5B7}" dt="2025-07-09T07:36:31.141" v="5136" actId="552"/>
          <ac:grpSpMkLst>
            <pc:docMk/>
            <pc:sldMk cId="630901541" sldId="885"/>
            <ac:grpSpMk id="64" creationId="{2E916BEC-C63B-4C76-1C80-53C349E1AFE5}"/>
          </ac:grpSpMkLst>
        </pc:grpChg>
        <pc:grpChg chg="add del mod">
          <ac:chgData name="Bedel, Yanick Noah" userId="c0f86fc0-9b55-4d74-958a-ff514487524f" providerId="ADAL" clId="{5DCB94AE-F125-4388-AAC2-90396541D5B7}" dt="2025-07-09T07:43:13.071" v="5155" actId="165"/>
          <ac:grpSpMkLst>
            <pc:docMk/>
            <pc:sldMk cId="630901541" sldId="885"/>
            <ac:grpSpMk id="69" creationId="{D53B3717-414D-7585-01E2-E43D1735E620}"/>
          </ac:grpSpMkLst>
        </pc:grpChg>
        <pc:picChg chg="mod topLvl">
          <ac:chgData name="Bedel, Yanick Noah" userId="c0f86fc0-9b55-4d74-958a-ff514487524f" providerId="ADAL" clId="{5DCB94AE-F125-4388-AAC2-90396541D5B7}" dt="2025-07-09T07:46:58.002" v="5246" actId="165"/>
          <ac:picMkLst>
            <pc:docMk/>
            <pc:sldMk cId="630901541" sldId="885"/>
            <ac:picMk id="21" creationId="{5FAFD610-C261-291A-D452-FA8816AE7ED9}"/>
          </ac:picMkLst>
        </pc:picChg>
        <pc:picChg chg="add del mod">
          <ac:chgData name="Bedel, Yanick Noah" userId="c0f86fc0-9b55-4d74-958a-ff514487524f" providerId="ADAL" clId="{5DCB94AE-F125-4388-AAC2-90396541D5B7}" dt="2025-07-09T07:27:31.077" v="5025" actId="478"/>
          <ac:picMkLst>
            <pc:docMk/>
            <pc:sldMk cId="630901541" sldId="885"/>
            <ac:picMk id="50" creationId="{EC4D3B5A-132C-9855-763C-8EE4603FBCEC}"/>
          </ac:picMkLst>
        </pc:picChg>
        <pc:picChg chg="mod">
          <ac:chgData name="Bedel, Yanick Noah" userId="c0f86fc0-9b55-4d74-958a-ff514487524f" providerId="ADAL" clId="{5DCB94AE-F125-4388-AAC2-90396541D5B7}" dt="2025-07-09T07:31:53.531" v="5065"/>
          <ac:picMkLst>
            <pc:docMk/>
            <pc:sldMk cId="630901541" sldId="885"/>
            <ac:picMk id="58" creationId="{B57F63BD-0A87-46B6-BE99-ABBD7F8BA252}"/>
          </ac:picMkLst>
        </pc:picChg>
        <pc:picChg chg="mod">
          <ac:chgData name="Bedel, Yanick Noah" userId="c0f86fc0-9b55-4d74-958a-ff514487524f" providerId="ADAL" clId="{5DCB94AE-F125-4388-AAC2-90396541D5B7}" dt="2025-07-09T07:31:53.732" v="5066"/>
          <ac:picMkLst>
            <pc:docMk/>
            <pc:sldMk cId="630901541" sldId="885"/>
            <ac:picMk id="63" creationId="{720F919A-D583-1095-EAD1-4CBBCE9E5AAE}"/>
          </ac:picMkLst>
        </pc:picChg>
        <pc:picChg chg="mod">
          <ac:chgData name="Bedel, Yanick Noah" userId="c0f86fc0-9b55-4d74-958a-ff514487524f" providerId="ADAL" clId="{5DCB94AE-F125-4388-AAC2-90396541D5B7}" dt="2025-07-09T07:31:58.070" v="5069"/>
          <ac:picMkLst>
            <pc:docMk/>
            <pc:sldMk cId="630901541" sldId="885"/>
            <ac:picMk id="68" creationId="{23D3A888-9094-620B-C253-840C60250660}"/>
          </ac:picMkLst>
        </pc:picChg>
        <pc:picChg chg="mod topLvl">
          <ac:chgData name="Bedel, Yanick Noah" userId="c0f86fc0-9b55-4d74-958a-ff514487524f" providerId="ADAL" clId="{5DCB94AE-F125-4388-AAC2-90396541D5B7}" dt="2025-07-09T07:44:10.191" v="5236" actId="1076"/>
          <ac:picMkLst>
            <pc:docMk/>
            <pc:sldMk cId="630901541" sldId="885"/>
            <ac:picMk id="73" creationId="{92BD279E-4C59-0618-BC37-41371B08584B}"/>
          </ac:picMkLst>
        </pc:picChg>
        <pc:picChg chg="add mod">
          <ac:chgData name="Bedel, Yanick Noah" userId="c0f86fc0-9b55-4d74-958a-ff514487524f" providerId="ADAL" clId="{5DCB94AE-F125-4388-AAC2-90396541D5B7}" dt="2025-07-09T07:44:10.191" v="5236" actId="1076"/>
          <ac:picMkLst>
            <pc:docMk/>
            <pc:sldMk cId="630901541" sldId="885"/>
            <ac:picMk id="77" creationId="{96DB8CFE-CE80-3D6E-EB1C-68C98DE8E457}"/>
          </ac:picMkLst>
        </pc:picChg>
        <pc:picChg chg="add mod">
          <ac:chgData name="Bedel, Yanick Noah" userId="c0f86fc0-9b55-4d74-958a-ff514487524f" providerId="ADAL" clId="{5DCB94AE-F125-4388-AAC2-90396541D5B7}" dt="2025-07-09T07:47:58.765" v="5362" actId="1076"/>
          <ac:picMkLst>
            <pc:docMk/>
            <pc:sldMk cId="630901541" sldId="885"/>
            <ac:picMk id="81" creationId="{A3A69771-4B68-F91A-950E-DEB88B384557}"/>
          </ac:picMkLst>
        </pc:picChg>
        <pc:picChg chg="add mod">
          <ac:chgData name="Bedel, Yanick Noah" userId="c0f86fc0-9b55-4d74-958a-ff514487524f" providerId="ADAL" clId="{5DCB94AE-F125-4388-AAC2-90396541D5B7}" dt="2025-07-09T07:48:42.594" v="5371" actId="1076"/>
          <ac:picMkLst>
            <pc:docMk/>
            <pc:sldMk cId="630901541" sldId="885"/>
            <ac:picMk id="93" creationId="{BCCD2150-2893-390E-F4B2-1B7A56A6971A}"/>
          </ac:picMkLst>
        </pc:picChg>
      </pc:sldChg>
      <pc:sldChg chg="addSp delSp modSp add mod modShow">
        <pc:chgData name="Bedel, Yanick Noah" userId="c0f86fc0-9b55-4d74-958a-ff514487524f" providerId="ADAL" clId="{5DCB94AE-F125-4388-AAC2-90396541D5B7}" dt="2025-07-09T16:31:59.159" v="12685" actId="729"/>
        <pc:sldMkLst>
          <pc:docMk/>
          <pc:sldMk cId="1794094282" sldId="886"/>
        </pc:sldMkLst>
        <pc:spChg chg="mod">
          <ac:chgData name="Bedel, Yanick Noah" userId="c0f86fc0-9b55-4d74-958a-ff514487524f" providerId="ADAL" clId="{5DCB94AE-F125-4388-AAC2-90396541D5B7}" dt="2025-07-09T07:51:14.117" v="5388" actId="207"/>
          <ac:spMkLst>
            <pc:docMk/>
            <pc:sldMk cId="1794094282" sldId="886"/>
            <ac:spMk id="3" creationId="{377255F4-932F-E2FB-15E7-E3B0BDD063CC}"/>
          </ac:spMkLst>
        </pc:spChg>
        <pc:spChg chg="mod">
          <ac:chgData name="Bedel, Yanick Noah" userId="c0f86fc0-9b55-4d74-958a-ff514487524f" providerId="ADAL" clId="{5DCB94AE-F125-4388-AAC2-90396541D5B7}" dt="2025-07-09T07:57:58.781" v="5443" actId="20577"/>
          <ac:spMkLst>
            <pc:docMk/>
            <pc:sldMk cId="1794094282" sldId="886"/>
            <ac:spMk id="6" creationId="{6E4B4243-B259-26BF-2E93-42EDDD9E9732}"/>
          </ac:spMkLst>
        </pc:spChg>
        <pc:spChg chg="mod">
          <ac:chgData name="Bedel, Yanick Noah" userId="c0f86fc0-9b55-4d74-958a-ff514487524f" providerId="ADAL" clId="{5DCB94AE-F125-4388-AAC2-90396541D5B7}" dt="2025-07-09T15:34:17.663" v="9691" actId="20577"/>
          <ac:spMkLst>
            <pc:docMk/>
            <pc:sldMk cId="1794094282" sldId="886"/>
            <ac:spMk id="7" creationId="{0F65A37C-C649-146A-5CB6-28D0E4A76CAD}"/>
          </ac:spMkLst>
        </pc:spChg>
        <pc:spChg chg="add mod">
          <ac:chgData name="Bedel, Yanick Noah" userId="c0f86fc0-9b55-4d74-958a-ff514487524f" providerId="ADAL" clId="{5DCB94AE-F125-4388-AAC2-90396541D5B7}" dt="2025-07-09T07:55:43.445" v="5424"/>
          <ac:spMkLst>
            <pc:docMk/>
            <pc:sldMk cId="1794094282" sldId="886"/>
            <ac:spMk id="8" creationId="{FF2C6AD5-B86F-0951-8F16-70B8BEF1D441}"/>
          </ac:spMkLst>
        </pc:spChg>
        <pc:spChg chg="mod">
          <ac:chgData name="Bedel, Yanick Noah" userId="c0f86fc0-9b55-4d74-958a-ff514487524f" providerId="ADAL" clId="{5DCB94AE-F125-4388-AAC2-90396541D5B7}" dt="2025-07-09T07:51:45.692" v="5389" actId="207"/>
          <ac:spMkLst>
            <pc:docMk/>
            <pc:sldMk cId="1794094282" sldId="886"/>
            <ac:spMk id="9" creationId="{593F702F-4E16-E0C7-2DC2-C33321E050B6}"/>
          </ac:spMkLst>
        </pc:spChg>
        <pc:spChg chg="mod">
          <ac:chgData name="Bedel, Yanick Noah" userId="c0f86fc0-9b55-4d74-958a-ff514487524f" providerId="ADAL" clId="{5DCB94AE-F125-4388-AAC2-90396541D5B7}" dt="2025-07-09T07:51:45.692" v="5389" actId="207"/>
          <ac:spMkLst>
            <pc:docMk/>
            <pc:sldMk cId="1794094282" sldId="886"/>
            <ac:spMk id="10" creationId="{07DD86AC-D00C-8910-085F-6349819B46E9}"/>
          </ac:spMkLst>
        </pc:spChg>
        <pc:spChg chg="add mod">
          <ac:chgData name="Bedel, Yanick Noah" userId="c0f86fc0-9b55-4d74-958a-ff514487524f" providerId="ADAL" clId="{5DCB94AE-F125-4388-AAC2-90396541D5B7}" dt="2025-07-09T16:30:25.754" v="12557"/>
          <ac:spMkLst>
            <pc:docMk/>
            <pc:sldMk cId="1794094282" sldId="886"/>
            <ac:spMk id="11" creationId="{019B7750-455B-A9FF-4F27-8E46E7E125DB}"/>
          </ac:spMkLst>
        </pc:spChg>
        <pc:spChg chg="mod">
          <ac:chgData name="Bedel, Yanick Noah" userId="c0f86fc0-9b55-4d74-958a-ff514487524f" providerId="ADAL" clId="{5DCB94AE-F125-4388-AAC2-90396541D5B7}" dt="2025-07-09T07:51:14.117" v="5388" actId="207"/>
          <ac:spMkLst>
            <pc:docMk/>
            <pc:sldMk cId="1794094282" sldId="886"/>
            <ac:spMk id="12" creationId="{54D98965-7E46-6349-8060-6B340A6DB619}"/>
          </ac:spMkLst>
        </pc:spChg>
        <pc:spChg chg="mod">
          <ac:chgData name="Bedel, Yanick Noah" userId="c0f86fc0-9b55-4d74-958a-ff514487524f" providerId="ADAL" clId="{5DCB94AE-F125-4388-AAC2-90396541D5B7}" dt="2025-07-09T16:29:02.917" v="12452" actId="14100"/>
          <ac:spMkLst>
            <pc:docMk/>
            <pc:sldMk cId="1794094282" sldId="886"/>
            <ac:spMk id="13" creationId="{6CAE9D34-1FE0-B6AA-2E46-D839846BB5BA}"/>
          </ac:spMkLst>
        </pc:spChg>
        <pc:spChg chg="mod">
          <ac:chgData name="Bedel, Yanick Noah" userId="c0f86fc0-9b55-4d74-958a-ff514487524f" providerId="ADAL" clId="{5DCB94AE-F125-4388-AAC2-90396541D5B7}" dt="2025-07-09T16:30:52.825" v="12645" actId="20577"/>
          <ac:spMkLst>
            <pc:docMk/>
            <pc:sldMk cId="1794094282" sldId="886"/>
            <ac:spMk id="14" creationId="{3B6055F6-13AE-410F-1924-C6111A923B50}"/>
          </ac:spMkLst>
        </pc:spChg>
        <pc:spChg chg="mod">
          <ac:chgData name="Bedel, Yanick Noah" userId="c0f86fc0-9b55-4d74-958a-ff514487524f" providerId="ADAL" clId="{5DCB94AE-F125-4388-AAC2-90396541D5B7}" dt="2025-07-09T16:30:18.989" v="12556" actId="14100"/>
          <ac:spMkLst>
            <pc:docMk/>
            <pc:sldMk cId="1794094282" sldId="886"/>
            <ac:spMk id="16" creationId="{FD5D30AA-461E-3D61-40B0-8F0A07F5A53B}"/>
          </ac:spMkLst>
        </pc:spChg>
        <pc:spChg chg="mod">
          <ac:chgData name="Bedel, Yanick Noah" userId="c0f86fc0-9b55-4d74-958a-ff514487524f" providerId="ADAL" clId="{5DCB94AE-F125-4388-AAC2-90396541D5B7}" dt="2025-07-09T07:50:42.902" v="5387" actId="207"/>
          <ac:spMkLst>
            <pc:docMk/>
            <pc:sldMk cId="1794094282" sldId="886"/>
            <ac:spMk id="18" creationId="{5D754862-C307-6638-8051-68AB6C45C1E6}"/>
          </ac:spMkLst>
        </pc:spChg>
        <pc:spChg chg="del mod">
          <ac:chgData name="Bedel, Yanick Noah" userId="c0f86fc0-9b55-4d74-958a-ff514487524f" providerId="ADAL" clId="{5DCB94AE-F125-4388-AAC2-90396541D5B7}" dt="2025-07-09T16:30:08.977" v="12555" actId="478"/>
          <ac:spMkLst>
            <pc:docMk/>
            <pc:sldMk cId="1794094282" sldId="886"/>
            <ac:spMk id="19" creationId="{4259DBE4-3D6B-3F35-025D-97779B9EB23F}"/>
          </ac:spMkLst>
        </pc:spChg>
        <pc:spChg chg="mod">
          <ac:chgData name="Bedel, Yanick Noah" userId="c0f86fc0-9b55-4d74-958a-ff514487524f" providerId="ADAL" clId="{5DCB94AE-F125-4388-AAC2-90396541D5B7}" dt="2025-07-09T16:31:16.340" v="12674" actId="1036"/>
          <ac:spMkLst>
            <pc:docMk/>
            <pc:sldMk cId="1794094282" sldId="886"/>
            <ac:spMk id="25" creationId="{955DAD99-9476-7FB4-BAF1-6EE3C017081B}"/>
          </ac:spMkLst>
        </pc:spChg>
        <pc:spChg chg="mod">
          <ac:chgData name="Bedel, Yanick Noah" userId="c0f86fc0-9b55-4d74-958a-ff514487524f" providerId="ADAL" clId="{5DCB94AE-F125-4388-AAC2-90396541D5B7}" dt="2025-07-09T07:57:10.784" v="5439" actId="207"/>
          <ac:spMkLst>
            <pc:docMk/>
            <pc:sldMk cId="1794094282" sldId="886"/>
            <ac:spMk id="26" creationId="{B2D9EBDB-CA4B-5656-A925-7EF17D0BFC8E}"/>
          </ac:spMkLst>
        </pc:spChg>
        <pc:spChg chg="mod">
          <ac:chgData name="Bedel, Yanick Noah" userId="c0f86fc0-9b55-4d74-958a-ff514487524f" providerId="ADAL" clId="{5DCB94AE-F125-4388-AAC2-90396541D5B7}" dt="2025-07-09T07:50:42.902" v="5387" actId="207"/>
          <ac:spMkLst>
            <pc:docMk/>
            <pc:sldMk cId="1794094282" sldId="886"/>
            <ac:spMk id="27" creationId="{B90FEA17-1C16-A151-FC0E-5F83B16F1627}"/>
          </ac:spMkLst>
        </pc:spChg>
        <pc:spChg chg="mod">
          <ac:chgData name="Bedel, Yanick Noah" userId="c0f86fc0-9b55-4d74-958a-ff514487524f" providerId="ADAL" clId="{5DCB94AE-F125-4388-AAC2-90396541D5B7}" dt="2025-07-09T07:40:41.190" v="5143" actId="692"/>
          <ac:spMkLst>
            <pc:docMk/>
            <pc:sldMk cId="1794094282" sldId="886"/>
            <ac:spMk id="28" creationId="{A06A7DFC-211A-2790-E4AF-D3E82A4C4331}"/>
          </ac:spMkLst>
        </pc:spChg>
        <pc:spChg chg="mod">
          <ac:chgData name="Bedel, Yanick Noah" userId="c0f86fc0-9b55-4d74-958a-ff514487524f" providerId="ADAL" clId="{5DCB94AE-F125-4388-AAC2-90396541D5B7}" dt="2025-07-09T07:40:48.426" v="5144" actId="692"/>
          <ac:spMkLst>
            <pc:docMk/>
            <pc:sldMk cId="1794094282" sldId="886"/>
            <ac:spMk id="29" creationId="{5377AA99-3FAC-DE5A-0E64-173691552A6F}"/>
          </ac:spMkLst>
        </pc:spChg>
        <pc:spChg chg="mod">
          <ac:chgData name="Bedel, Yanick Noah" userId="c0f86fc0-9b55-4d74-958a-ff514487524f" providerId="ADAL" clId="{5DCB94AE-F125-4388-AAC2-90396541D5B7}" dt="2025-07-09T07:40:48.426" v="5144" actId="692"/>
          <ac:spMkLst>
            <pc:docMk/>
            <pc:sldMk cId="1794094282" sldId="886"/>
            <ac:spMk id="30" creationId="{666C602B-0E28-170C-7F7A-A2A25A321B9F}"/>
          </ac:spMkLst>
        </pc:spChg>
        <pc:spChg chg="mod">
          <ac:chgData name="Bedel, Yanick Noah" userId="c0f86fc0-9b55-4d74-958a-ff514487524f" providerId="ADAL" clId="{5DCB94AE-F125-4388-AAC2-90396541D5B7}" dt="2025-07-09T07:40:41.190" v="5143" actId="692"/>
          <ac:spMkLst>
            <pc:docMk/>
            <pc:sldMk cId="1794094282" sldId="886"/>
            <ac:spMk id="31" creationId="{DF77DB67-4320-F37B-65E4-D252FDC7CC7A}"/>
          </ac:spMkLst>
        </pc:spChg>
        <pc:spChg chg="mod">
          <ac:chgData name="Bedel, Yanick Noah" userId="c0f86fc0-9b55-4d74-958a-ff514487524f" providerId="ADAL" clId="{5DCB94AE-F125-4388-AAC2-90396541D5B7}" dt="2025-07-09T15:34:39.237" v="9711" actId="1076"/>
          <ac:spMkLst>
            <pc:docMk/>
            <pc:sldMk cId="1794094282" sldId="886"/>
            <ac:spMk id="35" creationId="{F0C821DE-27E4-50F9-A3DD-1A11AFD8C390}"/>
          </ac:spMkLst>
        </pc:spChg>
        <pc:grpChg chg="mod">
          <ac:chgData name="Bedel, Yanick Noah" userId="c0f86fc0-9b55-4d74-958a-ff514487524f" providerId="ADAL" clId="{5DCB94AE-F125-4388-AAC2-90396541D5B7}" dt="2025-07-09T09:21:58.117" v="7516" actId="1035"/>
          <ac:grpSpMkLst>
            <pc:docMk/>
            <pc:sldMk cId="1794094282" sldId="886"/>
            <ac:grpSpMk id="53" creationId="{8704759D-CB99-F3CC-62D2-C5A28878C02B}"/>
          </ac:grpSpMkLst>
        </pc:grpChg>
        <pc:grpChg chg="mod">
          <ac:chgData name="Bedel, Yanick Noah" userId="c0f86fc0-9b55-4d74-958a-ff514487524f" providerId="ADAL" clId="{5DCB94AE-F125-4388-AAC2-90396541D5B7}" dt="2025-07-09T09:21:58.117" v="7516" actId="1035"/>
          <ac:grpSpMkLst>
            <pc:docMk/>
            <pc:sldMk cId="1794094282" sldId="886"/>
            <ac:grpSpMk id="54" creationId="{DF0B7C03-3D86-697E-9AED-7580DF96CB61}"/>
          </ac:grpSpMkLst>
        </pc:grpChg>
        <pc:grpChg chg="mod">
          <ac:chgData name="Bedel, Yanick Noah" userId="c0f86fc0-9b55-4d74-958a-ff514487524f" providerId="ADAL" clId="{5DCB94AE-F125-4388-AAC2-90396541D5B7}" dt="2025-07-09T09:22:04.626" v="7525" actId="1036"/>
          <ac:grpSpMkLst>
            <pc:docMk/>
            <pc:sldMk cId="1794094282" sldId="886"/>
            <ac:grpSpMk id="59" creationId="{A0BCC510-8398-05DA-F323-604C23C97AB5}"/>
          </ac:grpSpMkLst>
        </pc:grpChg>
        <pc:grpChg chg="mod">
          <ac:chgData name="Bedel, Yanick Noah" userId="c0f86fc0-9b55-4d74-958a-ff514487524f" providerId="ADAL" clId="{5DCB94AE-F125-4388-AAC2-90396541D5B7}" dt="2025-07-09T09:22:04.626" v="7525" actId="1036"/>
          <ac:grpSpMkLst>
            <pc:docMk/>
            <pc:sldMk cId="1794094282" sldId="886"/>
            <ac:grpSpMk id="64" creationId="{A5CD41B4-D26A-AA29-701F-8E0CC5C27209}"/>
          </ac:grpSpMkLst>
        </pc:grpChg>
      </pc:sldChg>
      <pc:sldChg chg="add del">
        <pc:chgData name="Bedel, Yanick Noah" userId="c0f86fc0-9b55-4d74-958a-ff514487524f" providerId="ADAL" clId="{5DCB94AE-F125-4388-AAC2-90396541D5B7}" dt="2025-07-09T07:52:47.250" v="5392" actId="47"/>
        <pc:sldMkLst>
          <pc:docMk/>
          <pc:sldMk cId="149569639" sldId="887"/>
        </pc:sldMkLst>
      </pc:sldChg>
      <pc:sldChg chg="addSp delSp modSp add mod">
        <pc:chgData name="Bedel, Yanick Noah" userId="c0f86fc0-9b55-4d74-958a-ff514487524f" providerId="ADAL" clId="{5DCB94AE-F125-4388-AAC2-90396541D5B7}" dt="2025-07-09T14:40:00.837" v="8647" actId="478"/>
        <pc:sldMkLst>
          <pc:docMk/>
          <pc:sldMk cId="3823556651" sldId="887"/>
        </pc:sldMkLst>
        <pc:spChg chg="mod">
          <ac:chgData name="Bedel, Yanick Noah" userId="c0f86fc0-9b55-4d74-958a-ff514487524f" providerId="ADAL" clId="{5DCB94AE-F125-4388-AAC2-90396541D5B7}" dt="2025-07-09T14:00:06.642" v="7996" actId="20577"/>
          <ac:spMkLst>
            <pc:docMk/>
            <pc:sldMk cId="3823556651" sldId="887"/>
            <ac:spMk id="2" creationId="{43C54675-3441-D9CB-54DD-1030F1FCC38D}"/>
          </ac:spMkLst>
        </pc:spChg>
        <pc:spChg chg="add 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3" creationId="{A870EE70-27DF-3272-845E-CBE39260F467}"/>
          </ac:spMkLst>
        </pc:spChg>
        <pc:spChg chg="add 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7" creationId="{8897D4D2-9F13-4A87-FAFD-9830E1A78874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9" creationId="{DFF86117-1DC3-8E7B-52E6-4182C3B60E39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10" creationId="{318FDD63-ACB7-0D35-3636-AFF553E320D6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11" creationId="{95604735-84A4-EB6C-F0E2-DCD533C5D0EA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14" creationId="{C4E4AC84-916F-29A5-181B-561F7D5FB330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16" creationId="{C8CDF975-D185-41AA-93F9-F15D9C958516}"/>
          </ac:spMkLst>
        </pc:spChg>
        <pc:spChg chg="mod">
          <ac:chgData name="Bedel, Yanick Noah" userId="c0f86fc0-9b55-4d74-958a-ff514487524f" providerId="ADAL" clId="{5DCB94AE-F125-4388-AAC2-90396541D5B7}" dt="2025-07-09T08:02:42.601" v="5556" actId="207"/>
          <ac:spMkLst>
            <pc:docMk/>
            <pc:sldMk cId="3823556651" sldId="887"/>
            <ac:spMk id="19" creationId="{B41FD114-2626-E026-117F-E2E9DEE0F40A}"/>
          </ac:spMkLst>
        </pc:spChg>
        <pc:spChg chg="mod">
          <ac:chgData name="Bedel, Yanick Noah" userId="c0f86fc0-9b55-4d74-958a-ff514487524f" providerId="ADAL" clId="{5DCB94AE-F125-4388-AAC2-90396541D5B7}" dt="2025-07-09T08:02:42.601" v="5556" actId="207"/>
          <ac:spMkLst>
            <pc:docMk/>
            <pc:sldMk cId="3823556651" sldId="887"/>
            <ac:spMk id="20" creationId="{AEE7CC72-23F4-73F3-8FA6-08B65C7B429C}"/>
          </ac:spMkLst>
        </pc:spChg>
        <pc:spChg chg="mod">
          <ac:chgData name="Bedel, Yanick Noah" userId="c0f86fc0-9b55-4d74-958a-ff514487524f" providerId="ADAL" clId="{5DCB94AE-F125-4388-AAC2-90396541D5B7}" dt="2025-07-09T08:02:42.601" v="5556" actId="207"/>
          <ac:spMkLst>
            <pc:docMk/>
            <pc:sldMk cId="3823556651" sldId="887"/>
            <ac:spMk id="21" creationId="{582FE0E3-FEB3-65E1-9794-2C42CF1EB013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24" creationId="{657CB1A9-AD34-8D3F-24D0-2B7438D13732}"/>
          </ac:spMkLst>
        </pc:spChg>
        <pc:spChg chg="mod">
          <ac:chgData name="Bedel, Yanick Noah" userId="c0f86fc0-9b55-4d74-958a-ff514487524f" providerId="ADAL" clId="{5DCB94AE-F125-4388-AAC2-90396541D5B7}" dt="2025-07-09T08:02:35.383" v="5555" actId="207"/>
          <ac:spMkLst>
            <pc:docMk/>
            <pc:sldMk cId="3823556651" sldId="887"/>
            <ac:spMk id="25" creationId="{DC3A1B0A-6B3F-579B-FA58-91F31D07B37E}"/>
          </ac:spMkLst>
        </pc:spChg>
        <pc:spChg chg="mod">
          <ac:chgData name="Bedel, Yanick Noah" userId="c0f86fc0-9b55-4d74-958a-ff514487524f" providerId="ADAL" clId="{5DCB94AE-F125-4388-AAC2-90396541D5B7}" dt="2025-07-09T08:05:32.489" v="5653" actId="1036"/>
          <ac:spMkLst>
            <pc:docMk/>
            <pc:sldMk cId="3823556651" sldId="887"/>
            <ac:spMk id="26" creationId="{FFD45FBA-4398-79B7-9750-F4E9EA3E964C}"/>
          </ac:spMkLst>
        </pc:spChg>
        <pc:spChg chg="add mod">
          <ac:chgData name="Bedel, Yanick Noah" userId="c0f86fc0-9b55-4d74-958a-ff514487524f" providerId="ADAL" clId="{5DCB94AE-F125-4388-AAC2-90396541D5B7}" dt="2025-07-09T14:38:53.558" v="8592" actId="20577"/>
          <ac:spMkLst>
            <pc:docMk/>
            <pc:sldMk cId="3823556651" sldId="887"/>
            <ac:spMk id="31" creationId="{7D10750E-56AF-D482-EC14-321112F83C52}"/>
          </ac:spMkLst>
        </pc:spChg>
        <pc:spChg chg="mod">
          <ac:chgData name="Bedel, Yanick Noah" userId="c0f86fc0-9b55-4d74-958a-ff514487524f" providerId="ADAL" clId="{5DCB94AE-F125-4388-AAC2-90396541D5B7}" dt="2025-07-09T14:39:51.007" v="8646" actId="20577"/>
          <ac:spMkLst>
            <pc:docMk/>
            <pc:sldMk cId="3823556651" sldId="887"/>
            <ac:spMk id="32" creationId="{9447D422-27DE-85F3-863E-B8ED63F1779E}"/>
          </ac:spMkLst>
        </pc:spChg>
        <pc:spChg chg="mod">
          <ac:chgData name="Bedel, Yanick Noah" userId="c0f86fc0-9b55-4d74-958a-ff514487524f" providerId="ADAL" clId="{5DCB94AE-F125-4388-AAC2-90396541D5B7}" dt="2025-07-09T14:35:03.583" v="8297" actId="20577"/>
          <ac:spMkLst>
            <pc:docMk/>
            <pc:sldMk cId="3823556651" sldId="887"/>
            <ac:spMk id="33" creationId="{950D51FB-3B91-3DDA-B5E3-1C4981F19D05}"/>
          </ac:spMkLst>
        </pc:spChg>
        <pc:spChg chg="mod">
          <ac:chgData name="Bedel, Yanick Noah" userId="c0f86fc0-9b55-4d74-958a-ff514487524f" providerId="ADAL" clId="{5DCB94AE-F125-4388-AAC2-90396541D5B7}" dt="2025-07-09T14:35:24.579" v="8322" actId="20577"/>
          <ac:spMkLst>
            <pc:docMk/>
            <pc:sldMk cId="3823556651" sldId="887"/>
            <ac:spMk id="34" creationId="{5B0B6EB1-445F-E200-E83D-46C709638B57}"/>
          </ac:spMkLst>
        </pc:spChg>
        <pc:spChg chg="add del mod">
          <ac:chgData name="Bedel, Yanick Noah" userId="c0f86fc0-9b55-4d74-958a-ff514487524f" providerId="ADAL" clId="{5DCB94AE-F125-4388-AAC2-90396541D5B7}" dt="2025-07-09T14:40:00.837" v="8647" actId="478"/>
          <ac:spMkLst>
            <pc:docMk/>
            <pc:sldMk cId="3823556651" sldId="887"/>
            <ac:spMk id="35" creationId="{C4228145-E770-0C1C-E1BB-E2BEF89AC0FA}"/>
          </ac:spMkLst>
        </pc:spChg>
        <pc:grpChg chg="mod">
          <ac:chgData name="Bedel, Yanick Noah" userId="c0f86fc0-9b55-4d74-958a-ff514487524f" providerId="ADAL" clId="{5DCB94AE-F125-4388-AAC2-90396541D5B7}" dt="2025-07-09T08:02:42.601" v="5556" actId="207"/>
          <ac:grpSpMkLst>
            <pc:docMk/>
            <pc:sldMk cId="3823556651" sldId="887"/>
            <ac:grpSpMk id="18" creationId="{B8BE4123-D3B4-834C-A92D-97C201312480}"/>
          </ac:grpSpMkLst>
        </pc:grpChg>
        <pc:grpChg chg="mod">
          <ac:chgData name="Bedel, Yanick Noah" userId="c0f86fc0-9b55-4d74-958a-ff514487524f" providerId="ADAL" clId="{5DCB94AE-F125-4388-AAC2-90396541D5B7}" dt="2025-07-09T08:02:35.383" v="5555" actId="207"/>
          <ac:grpSpMkLst>
            <pc:docMk/>
            <pc:sldMk cId="3823556651" sldId="887"/>
            <ac:grpSpMk id="23" creationId="{C47BD2B7-5BDF-F6A5-0219-D33531D469F8}"/>
          </ac:grpSpMkLst>
        </pc:grpChg>
        <pc:cxnChg chg="mod">
          <ac:chgData name="Bedel, Yanick Noah" userId="c0f86fc0-9b55-4d74-958a-ff514487524f" providerId="ADAL" clId="{5DCB94AE-F125-4388-AAC2-90396541D5B7}" dt="2025-07-09T08:04:36.864" v="5615" actId="14100"/>
          <ac:cxnSpMkLst>
            <pc:docMk/>
            <pc:sldMk cId="3823556651" sldId="887"/>
            <ac:cxnSpMk id="27" creationId="{9FCB265A-4B2F-AED7-2877-D9A89C65E235}"/>
          </ac:cxnSpMkLst>
        </pc:cxnChg>
        <pc:cxnChg chg="mod">
          <ac:chgData name="Bedel, Yanick Noah" userId="c0f86fc0-9b55-4d74-958a-ff514487524f" providerId="ADAL" clId="{5DCB94AE-F125-4388-AAC2-90396541D5B7}" dt="2025-07-09T08:03:58.339" v="5599" actId="14100"/>
          <ac:cxnSpMkLst>
            <pc:docMk/>
            <pc:sldMk cId="3823556651" sldId="887"/>
            <ac:cxnSpMk id="28" creationId="{5BE3BA2F-2CC2-3691-7F56-8F67AF69DCB8}"/>
          </ac:cxnSpMkLst>
        </pc:cxnChg>
        <pc:cxnChg chg="mod">
          <ac:chgData name="Bedel, Yanick Noah" userId="c0f86fc0-9b55-4d74-958a-ff514487524f" providerId="ADAL" clId="{5DCB94AE-F125-4388-AAC2-90396541D5B7}" dt="2025-07-09T08:03:30.994" v="5572" actId="692"/>
          <ac:cxnSpMkLst>
            <pc:docMk/>
            <pc:sldMk cId="3823556651" sldId="887"/>
            <ac:cxnSpMk id="29" creationId="{29C6B83F-44A4-95A1-C831-7E6AAAB7FCB3}"/>
          </ac:cxnSpMkLst>
        </pc:cxnChg>
        <pc:cxnChg chg="mod">
          <ac:chgData name="Bedel, Yanick Noah" userId="c0f86fc0-9b55-4d74-958a-ff514487524f" providerId="ADAL" clId="{5DCB94AE-F125-4388-AAC2-90396541D5B7}" dt="2025-07-09T08:03:38.712" v="5574" actId="692"/>
          <ac:cxnSpMkLst>
            <pc:docMk/>
            <pc:sldMk cId="3823556651" sldId="887"/>
            <ac:cxnSpMk id="30" creationId="{8738BB05-2084-1908-334C-172A79A1275D}"/>
          </ac:cxnSpMkLst>
        </pc:cxnChg>
      </pc:sldChg>
      <pc:sldChg chg="add del">
        <pc:chgData name="Bedel, Yanick Noah" userId="c0f86fc0-9b55-4d74-958a-ff514487524f" providerId="ADAL" clId="{5DCB94AE-F125-4388-AAC2-90396541D5B7}" dt="2025-07-09T07:41:45.969" v="5148" actId="47"/>
        <pc:sldMkLst>
          <pc:docMk/>
          <pc:sldMk cId="4045319787" sldId="887"/>
        </pc:sldMkLst>
      </pc:sldChg>
      <pc:sldChg chg="addSp delSp modSp add del mod">
        <pc:chgData name="Bedel, Yanick Noah" userId="c0f86fc0-9b55-4d74-958a-ff514487524f" providerId="ADAL" clId="{5DCB94AE-F125-4388-AAC2-90396541D5B7}" dt="2025-07-09T08:16:03.611" v="5955" actId="47"/>
        <pc:sldMkLst>
          <pc:docMk/>
          <pc:sldMk cId="3498645808" sldId="888"/>
        </pc:sldMkLst>
        <pc:spChg chg="add 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7" creationId="{BA4CDB14-C948-75D2-DAE0-2031A5BD67DA}"/>
          </ac:spMkLst>
        </pc:spChg>
        <pc:spChg chg="add 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8" creationId="{732E96B2-473C-41D9-AECF-BB2DC91254D4}"/>
          </ac:spMkLst>
        </pc:spChg>
        <pc:spChg chg="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9" creationId="{E9702B8A-3621-4030-A104-1F705542AE66}"/>
          </ac:spMkLst>
        </pc:spChg>
        <pc:spChg chg="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10" creationId="{74C81548-B62C-36AA-A23D-5851C4B567DA}"/>
          </ac:spMkLst>
        </pc:spChg>
        <pc:spChg chg="add 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11" creationId="{96AB6488-6D76-3AA7-052A-5F8B8F26DC65}"/>
          </ac:spMkLst>
        </pc:spChg>
        <pc:spChg chg="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12" creationId="{DAAB7240-4440-67A0-7762-F981DE38651E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3" creationId="{B0DAEF5F-0832-3C85-2D2E-ACF2D7094367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4" creationId="{F0A2E536-23B1-79EC-777E-375851365660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5" creationId="{3180B634-853B-DA74-C346-12E7FD92DAA3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6" creationId="{A9A37C46-55A1-D2DD-1446-316F50B3062B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7" creationId="{1FA7B7A7-AE7E-3494-7FDE-7D774072C4B1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18" creationId="{1162575F-D0C9-3150-DCE9-1F93771555E7}"/>
          </ac:spMkLst>
        </pc:spChg>
        <pc:spChg chg="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19" creationId="{49B47BCC-ADB7-5485-FB39-5375E77ADC39}"/>
          </ac:spMkLst>
        </pc:spChg>
        <pc:spChg chg="add 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20" creationId="{BC8DB43B-642E-4032-DA57-2FF25FDCD842}"/>
          </ac:spMkLst>
        </pc:spChg>
        <pc:spChg chg="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21" creationId="{350699F3-BADB-D4A4-9125-0BFEEEC0D161}"/>
          </ac:spMkLst>
        </pc:spChg>
        <pc:spChg chg="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22" creationId="{034D5638-A003-0B36-DE54-A3712ED17B87}"/>
          </ac:spMkLst>
        </pc:spChg>
        <pc:spChg chg="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23" creationId="{7CDA5F28-7BD3-A284-BB84-E86355379DAC}"/>
          </ac:spMkLst>
        </pc:spChg>
        <pc:spChg chg="mod topLvl">
          <ac:chgData name="Bedel, Yanick Noah" userId="c0f86fc0-9b55-4d74-958a-ff514487524f" providerId="ADAL" clId="{5DCB94AE-F125-4388-AAC2-90396541D5B7}" dt="2025-07-09T08:13:27.484" v="5937" actId="165"/>
          <ac:spMkLst>
            <pc:docMk/>
            <pc:sldMk cId="3498645808" sldId="888"/>
            <ac:spMk id="25" creationId="{2470C7A1-B0DB-D326-3023-E944B8F30E2B}"/>
          </ac:spMkLst>
        </pc:spChg>
        <pc:spChg chg="mod topLvl">
          <ac:chgData name="Bedel, Yanick Noah" userId="c0f86fc0-9b55-4d74-958a-ff514487524f" providerId="ADAL" clId="{5DCB94AE-F125-4388-AAC2-90396541D5B7}" dt="2025-07-09T08:13:30.329" v="5938" actId="165"/>
          <ac:spMkLst>
            <pc:docMk/>
            <pc:sldMk cId="3498645808" sldId="888"/>
            <ac:spMk id="27" creationId="{9B61E49D-B94E-7EC6-B4F2-3F860EADA9F4}"/>
          </ac:spMkLst>
        </pc:spChg>
        <pc:spChg chg="add 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29" creationId="{62E0C1C2-9000-B191-7168-9A0A3F1392C8}"/>
          </ac:spMkLst>
        </pc:spChg>
        <pc:spChg chg="add mod topLvl">
          <ac:chgData name="Bedel, Yanick Noah" userId="c0f86fc0-9b55-4d74-958a-ff514487524f" providerId="ADAL" clId="{5DCB94AE-F125-4388-AAC2-90396541D5B7}" dt="2025-07-09T08:13:39.401" v="5941" actId="165"/>
          <ac:spMkLst>
            <pc:docMk/>
            <pc:sldMk cId="3498645808" sldId="888"/>
            <ac:spMk id="30" creationId="{986DBA17-9A77-9D37-27D2-12473DE40DD8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1" creationId="{645011B6-6AC9-199A-3811-A90D43384CDD}"/>
          </ac:spMkLst>
        </pc:spChg>
        <pc:spChg chg="add 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2" creationId="{48C8DE45-3042-4B82-2D1B-76F01CAB6682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3" creationId="{4D90E07E-8CC1-2DB8-E9EF-183AFB86D49E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4" creationId="{7E879764-FB5C-FF2C-AB8C-24BBC32F4730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5" creationId="{C489D8C5-474C-16D2-366D-948D66308C54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6" creationId="{ABF0B2B4-E8BD-F854-8CA8-A65E7C175102}"/>
          </ac:spMkLst>
        </pc:spChg>
        <pc:spChg chg="mod topLvl">
          <ac:chgData name="Bedel, Yanick Noah" userId="c0f86fc0-9b55-4d74-958a-ff514487524f" providerId="ADAL" clId="{5DCB94AE-F125-4388-AAC2-90396541D5B7}" dt="2025-07-09T08:13:33.114" v="5939" actId="165"/>
          <ac:spMkLst>
            <pc:docMk/>
            <pc:sldMk cId="3498645808" sldId="888"/>
            <ac:spMk id="37" creationId="{03B9A743-47FF-A8B4-BF1E-219BC0B5F53B}"/>
          </ac:spMkLst>
        </pc:spChg>
        <pc:spChg chg="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38" creationId="{0FB1DBE6-7605-F98C-903F-23F61413E960}"/>
          </ac:spMkLst>
        </pc:spChg>
        <pc:spChg chg="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39" creationId="{C7573714-0C77-4951-DA60-720F68C8DCA3}"/>
          </ac:spMkLst>
        </pc:spChg>
        <pc:spChg chg="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40" creationId="{CBF91D45-9833-D151-7C27-BABAB01B2556}"/>
          </ac:spMkLst>
        </pc:spChg>
        <pc:spChg chg="add 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41" creationId="{C1592BEB-5018-DECB-7076-108AFBA415A3}"/>
          </ac:spMkLst>
        </pc:spChg>
        <pc:spChg chg="add 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44" creationId="{0D94C676-DDC1-3CB1-0394-41D4409047D6}"/>
          </ac:spMkLst>
        </pc:spChg>
        <pc:spChg chg="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45" creationId="{7184785F-4FC9-FBE8-1B72-786ACE51322F}"/>
          </ac:spMkLst>
        </pc:spChg>
        <pc:spChg chg="add mod topLvl">
          <ac:chgData name="Bedel, Yanick Noah" userId="c0f86fc0-9b55-4d74-958a-ff514487524f" providerId="ADAL" clId="{5DCB94AE-F125-4388-AAC2-90396541D5B7}" dt="2025-07-09T08:13:35.894" v="5940" actId="165"/>
          <ac:spMkLst>
            <pc:docMk/>
            <pc:sldMk cId="3498645808" sldId="888"/>
            <ac:spMk id="46" creationId="{74A8353A-CEC4-30A8-6DAD-F5BDBE4B67D6}"/>
          </ac:spMkLst>
        </pc:spChg>
        <pc:spChg chg="add mod">
          <ac:chgData name="Bedel, Yanick Noah" userId="c0f86fc0-9b55-4d74-958a-ff514487524f" providerId="ADAL" clId="{5DCB94AE-F125-4388-AAC2-90396541D5B7}" dt="2025-07-09T08:13:20.277" v="5936" actId="1076"/>
          <ac:spMkLst>
            <pc:docMk/>
            <pc:sldMk cId="3498645808" sldId="888"/>
            <ac:spMk id="54" creationId="{A2249C10-B801-E6A1-0B6E-71D43248F2D1}"/>
          </ac:spMkLst>
        </pc:spChg>
        <pc:grpChg chg="add del mod">
          <ac:chgData name="Bedel, Yanick Noah" userId="c0f86fc0-9b55-4d74-958a-ff514487524f" providerId="ADAL" clId="{5DCB94AE-F125-4388-AAC2-90396541D5B7}" dt="2025-07-09T08:13:39.401" v="5941" actId="165"/>
          <ac:grpSpMkLst>
            <pc:docMk/>
            <pc:sldMk cId="3498645808" sldId="888"/>
            <ac:grpSpMk id="47" creationId="{CE087683-38E5-A9CF-D1D7-ADAB203EEDEF}"/>
          </ac:grpSpMkLst>
        </pc:grpChg>
        <pc:grpChg chg="add del mod">
          <ac:chgData name="Bedel, Yanick Noah" userId="c0f86fc0-9b55-4d74-958a-ff514487524f" providerId="ADAL" clId="{5DCB94AE-F125-4388-AAC2-90396541D5B7}" dt="2025-07-09T08:13:35.894" v="5940" actId="165"/>
          <ac:grpSpMkLst>
            <pc:docMk/>
            <pc:sldMk cId="3498645808" sldId="888"/>
            <ac:grpSpMk id="48" creationId="{E4488EE5-22B3-D27A-C302-B25A2EF40032}"/>
          </ac:grpSpMkLst>
        </pc:grpChg>
        <pc:grpChg chg="add del mod">
          <ac:chgData name="Bedel, Yanick Noah" userId="c0f86fc0-9b55-4d74-958a-ff514487524f" providerId="ADAL" clId="{5DCB94AE-F125-4388-AAC2-90396541D5B7}" dt="2025-07-09T08:13:30.329" v="5938" actId="165"/>
          <ac:grpSpMkLst>
            <pc:docMk/>
            <pc:sldMk cId="3498645808" sldId="888"/>
            <ac:grpSpMk id="49" creationId="{DC00FE6D-F163-F908-8686-E7D6D271FFB7}"/>
          </ac:grpSpMkLst>
        </pc:grpChg>
        <pc:grpChg chg="add del mod">
          <ac:chgData name="Bedel, Yanick Noah" userId="c0f86fc0-9b55-4d74-958a-ff514487524f" providerId="ADAL" clId="{5DCB94AE-F125-4388-AAC2-90396541D5B7}" dt="2025-07-09T08:13:33.114" v="5939" actId="165"/>
          <ac:grpSpMkLst>
            <pc:docMk/>
            <pc:sldMk cId="3498645808" sldId="888"/>
            <ac:grpSpMk id="50" creationId="{EE9C007D-1DDE-5632-6E61-107B0BEAAC3A}"/>
          </ac:grpSpMkLst>
        </pc:grpChg>
        <pc:grpChg chg="add del mod">
          <ac:chgData name="Bedel, Yanick Noah" userId="c0f86fc0-9b55-4d74-958a-ff514487524f" providerId="ADAL" clId="{5DCB94AE-F125-4388-AAC2-90396541D5B7}" dt="2025-07-09T08:13:27.484" v="5937" actId="165"/>
          <ac:grpSpMkLst>
            <pc:docMk/>
            <pc:sldMk cId="3498645808" sldId="888"/>
            <ac:grpSpMk id="51" creationId="{67D4691E-81C1-4B10-0543-18464D236105}"/>
          </ac:grpSpMkLst>
        </pc:grpChg>
        <pc:cxnChg chg="mod">
          <ac:chgData name="Bedel, Yanick Noah" userId="c0f86fc0-9b55-4d74-958a-ff514487524f" providerId="ADAL" clId="{5DCB94AE-F125-4388-AAC2-90396541D5B7}" dt="2025-07-09T08:11:53.831" v="5794" actId="14100"/>
          <ac:cxnSpMkLst>
            <pc:docMk/>
            <pc:sldMk cId="3498645808" sldId="888"/>
            <ac:cxnSpMk id="3" creationId="{E754BDBD-FA43-6E5B-2ECF-B42581A20440}"/>
          </ac:cxnSpMkLst>
        </pc:cxnChg>
        <pc:cxnChg chg="mod topLvl">
          <ac:chgData name="Bedel, Yanick Noah" userId="c0f86fc0-9b55-4d74-958a-ff514487524f" providerId="ADAL" clId="{5DCB94AE-F125-4388-AAC2-90396541D5B7}" dt="2025-07-09T08:13:27.484" v="5937" actId="165"/>
          <ac:cxnSpMkLst>
            <pc:docMk/>
            <pc:sldMk cId="3498645808" sldId="888"/>
            <ac:cxnSpMk id="24" creationId="{9A936C22-B2C3-4935-6DD2-FF1B6731BBE4}"/>
          </ac:cxnSpMkLst>
        </pc:cxnChg>
        <pc:cxnChg chg="mod topLvl">
          <ac:chgData name="Bedel, Yanick Noah" userId="c0f86fc0-9b55-4d74-958a-ff514487524f" providerId="ADAL" clId="{5DCB94AE-F125-4388-AAC2-90396541D5B7}" dt="2025-07-09T08:13:30.329" v="5938" actId="165"/>
          <ac:cxnSpMkLst>
            <pc:docMk/>
            <pc:sldMk cId="3498645808" sldId="888"/>
            <ac:cxnSpMk id="26" creationId="{F21D2563-F0D6-E603-436F-9E57B8330440}"/>
          </ac:cxnSpMkLst>
        </pc:cxnChg>
        <pc:cxnChg chg="mod topLvl">
          <ac:chgData name="Bedel, Yanick Noah" userId="c0f86fc0-9b55-4d74-958a-ff514487524f" providerId="ADAL" clId="{5DCB94AE-F125-4388-AAC2-90396541D5B7}" dt="2025-07-09T08:13:39.401" v="5941" actId="165"/>
          <ac:cxnSpMkLst>
            <pc:docMk/>
            <pc:sldMk cId="3498645808" sldId="888"/>
            <ac:cxnSpMk id="28" creationId="{23C1466E-7AC4-02F9-3D29-B693519FE188}"/>
          </ac:cxnSpMkLst>
        </pc:cxnChg>
        <pc:cxnChg chg="mod topLvl">
          <ac:chgData name="Bedel, Yanick Noah" userId="c0f86fc0-9b55-4d74-958a-ff514487524f" providerId="ADAL" clId="{5DCB94AE-F125-4388-AAC2-90396541D5B7}" dt="2025-07-09T08:13:33.114" v="5939" actId="165"/>
          <ac:cxnSpMkLst>
            <pc:docMk/>
            <pc:sldMk cId="3498645808" sldId="888"/>
            <ac:cxnSpMk id="42" creationId="{CD416104-E16A-4E63-9894-5123E81D9A69}"/>
          </ac:cxnSpMkLst>
        </pc:cxnChg>
        <pc:cxnChg chg="mod topLvl">
          <ac:chgData name="Bedel, Yanick Noah" userId="c0f86fc0-9b55-4d74-958a-ff514487524f" providerId="ADAL" clId="{5DCB94AE-F125-4388-AAC2-90396541D5B7}" dt="2025-07-09T08:13:35.894" v="5940" actId="165"/>
          <ac:cxnSpMkLst>
            <pc:docMk/>
            <pc:sldMk cId="3498645808" sldId="888"/>
            <ac:cxnSpMk id="43" creationId="{C58015E8-CE4E-B130-374E-F4C56211E244}"/>
          </ac:cxnSpMkLst>
        </pc:cxnChg>
      </pc:sldChg>
      <pc:sldChg chg="modSp add del mod">
        <pc:chgData name="Bedel, Yanick Noah" userId="c0f86fc0-9b55-4d74-958a-ff514487524f" providerId="ADAL" clId="{5DCB94AE-F125-4388-AAC2-90396541D5B7}" dt="2025-07-09T08:18:45.787" v="5967" actId="47"/>
        <pc:sldMkLst>
          <pc:docMk/>
          <pc:sldMk cId="3891277066" sldId="889"/>
        </pc:sldMkLst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7" creationId="{56BB3BC6-B4E7-A9A3-E242-BB744AF151FE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8" creationId="{CA462783-C21B-C53D-8816-99C917DDAED5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10" creationId="{4E359788-96BE-0E33-A0A2-E3D3B3AEAD10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12" creationId="{DAC46589-F131-3320-F2CA-54BF097BECC9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13" creationId="{6E758A5C-1988-D437-9A3C-D053EE6FEDFA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14" creationId="{5EECFA88-45A2-53F8-C34F-CE3ED0FB8D78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16" creationId="{81478075-A844-003A-D040-ECEB3C119B5A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18" creationId="{7FC22E5F-1C49-6B77-62EC-3285C7C4A292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19" creationId="{CCE30C01-58D8-3270-2006-C45E70B38FC8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20" creationId="{5DAAC32E-9B71-2D5A-2EB1-0C542C1BEADA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22" creationId="{DA88C6A3-ACB7-CAF9-0D3D-2956C800F923}"/>
          </ac:spMkLst>
        </pc:spChg>
        <pc:spChg chg="mod">
          <ac:chgData name="Bedel, Yanick Noah" userId="c0f86fc0-9b55-4d74-958a-ff514487524f" providerId="ADAL" clId="{5DCB94AE-F125-4388-AAC2-90396541D5B7}" dt="2025-07-09T08:17:18.855" v="5961" actId="207"/>
          <ac:spMkLst>
            <pc:docMk/>
            <pc:sldMk cId="3891277066" sldId="889"/>
            <ac:spMk id="25" creationId="{7BE182F4-CB38-4107-6C1B-591AA736D1D0}"/>
          </ac:spMkLst>
        </pc:spChg>
        <pc:spChg chg="mod">
          <ac:chgData name="Bedel, Yanick Noah" userId="c0f86fc0-9b55-4d74-958a-ff514487524f" providerId="ADAL" clId="{5DCB94AE-F125-4388-AAC2-90396541D5B7}" dt="2025-07-09T08:17:18.855" v="5961" actId="207"/>
          <ac:spMkLst>
            <pc:docMk/>
            <pc:sldMk cId="3891277066" sldId="889"/>
            <ac:spMk id="27" creationId="{DA84811B-C44C-66F3-36E1-811A4438724A}"/>
          </ac:spMkLst>
        </pc:spChg>
        <pc:spChg chg="mod">
          <ac:chgData name="Bedel, Yanick Noah" userId="c0f86fc0-9b55-4d74-958a-ff514487524f" providerId="ADAL" clId="{5DCB94AE-F125-4388-AAC2-90396541D5B7}" dt="2025-07-09T08:17:18.855" v="5961" actId="207"/>
          <ac:spMkLst>
            <pc:docMk/>
            <pc:sldMk cId="3891277066" sldId="889"/>
            <ac:spMk id="29" creationId="{FE9DCDF3-D68E-AAE0-3499-2A35BE171B96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30" creationId="{D9C93E27-0802-5E94-EF6D-EB8FFEA1ADFB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31" creationId="{3F02D41F-0B91-FA00-D7F0-F7257A21C82B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32" creationId="{9FEA6442-6C0A-725C-040B-968AC63E8772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34" creationId="{1A3BAEC0-BCFC-7094-77FB-EDCA9EB1FD87}"/>
          </ac:spMkLst>
        </pc:spChg>
        <pc:spChg chg="mod">
          <ac:chgData name="Bedel, Yanick Noah" userId="c0f86fc0-9b55-4d74-958a-ff514487524f" providerId="ADAL" clId="{5DCB94AE-F125-4388-AAC2-90396541D5B7}" dt="2025-07-09T08:17:18.855" v="5961" actId="207"/>
          <ac:spMkLst>
            <pc:docMk/>
            <pc:sldMk cId="3891277066" sldId="889"/>
            <ac:spMk id="36" creationId="{7281A19A-EBEF-9876-E4B8-B645A9BE7A43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37" creationId="{01EC71D9-CD53-81A1-7C3D-84244D2B8A26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38" creationId="{10824D58-9C63-2797-D169-FB2869419724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39" creationId="{0B6DE874-3515-5F49-A36F-910859AEC981}"/>
          </ac:spMkLst>
        </pc:spChg>
        <pc:spChg chg="mod">
          <ac:chgData name="Bedel, Yanick Noah" userId="c0f86fc0-9b55-4d74-958a-ff514487524f" providerId="ADAL" clId="{5DCB94AE-F125-4388-AAC2-90396541D5B7}" dt="2025-07-09T08:15:00.199" v="5950" actId="207"/>
          <ac:spMkLst>
            <pc:docMk/>
            <pc:sldMk cId="3891277066" sldId="889"/>
            <ac:spMk id="41" creationId="{1554D525-0996-F368-73E6-B291015E5115}"/>
          </ac:spMkLst>
        </pc:spChg>
        <pc:spChg chg="mod">
          <ac:chgData name="Bedel, Yanick Noah" userId="c0f86fc0-9b55-4d74-958a-ff514487524f" providerId="ADAL" clId="{5DCB94AE-F125-4388-AAC2-90396541D5B7}" dt="2025-07-09T08:17:18.855" v="5961" actId="207"/>
          <ac:spMkLst>
            <pc:docMk/>
            <pc:sldMk cId="3891277066" sldId="889"/>
            <ac:spMk id="45" creationId="{B9B90CAA-BB2E-DACD-789A-42EEE4970447}"/>
          </ac:spMkLst>
        </pc:spChg>
        <pc:spChg chg="mod">
          <ac:chgData name="Bedel, Yanick Noah" userId="c0f86fc0-9b55-4d74-958a-ff514487524f" providerId="ADAL" clId="{5DCB94AE-F125-4388-AAC2-90396541D5B7}" dt="2025-07-09T08:15:23.458" v="5951" actId="692"/>
          <ac:spMkLst>
            <pc:docMk/>
            <pc:sldMk cId="3891277066" sldId="889"/>
            <ac:spMk id="46" creationId="{73C0B313-DA4B-5506-4AAC-B4712A2752E1}"/>
          </ac:spMkLst>
        </pc:spChg>
        <pc:cxnChg chg="mod">
          <ac:chgData name="Bedel, Yanick Noah" userId="c0f86fc0-9b55-4d74-958a-ff514487524f" providerId="ADAL" clId="{5DCB94AE-F125-4388-AAC2-90396541D5B7}" dt="2025-07-09T08:14:35.794" v="5948" actId="692"/>
          <ac:cxnSpMkLst>
            <pc:docMk/>
            <pc:sldMk cId="3891277066" sldId="889"/>
            <ac:cxnSpMk id="3" creationId="{1D72CEA3-BD0D-6A61-37A4-C17AEEB4B8B5}"/>
          </ac:cxnSpMkLst>
        </pc:cxnChg>
        <pc:cxnChg chg="mod">
          <ac:chgData name="Bedel, Yanick Noah" userId="c0f86fc0-9b55-4d74-958a-ff514487524f" providerId="ADAL" clId="{5DCB94AE-F125-4388-AAC2-90396541D5B7}" dt="2025-07-09T08:14:47.453" v="5949" actId="692"/>
          <ac:cxnSpMkLst>
            <pc:docMk/>
            <pc:sldMk cId="3891277066" sldId="889"/>
            <ac:cxnSpMk id="24" creationId="{6A8CB1A3-76A0-199C-03F9-1EE357AD2D4E}"/>
          </ac:cxnSpMkLst>
        </pc:cxnChg>
        <pc:cxnChg chg="mod">
          <ac:chgData name="Bedel, Yanick Noah" userId="c0f86fc0-9b55-4d74-958a-ff514487524f" providerId="ADAL" clId="{5DCB94AE-F125-4388-AAC2-90396541D5B7}" dt="2025-07-09T08:14:47.453" v="5949" actId="692"/>
          <ac:cxnSpMkLst>
            <pc:docMk/>
            <pc:sldMk cId="3891277066" sldId="889"/>
            <ac:cxnSpMk id="26" creationId="{A8E45B0E-F118-C950-E22D-ADC399095943}"/>
          </ac:cxnSpMkLst>
        </pc:cxnChg>
        <pc:cxnChg chg="mod">
          <ac:chgData name="Bedel, Yanick Noah" userId="c0f86fc0-9b55-4d74-958a-ff514487524f" providerId="ADAL" clId="{5DCB94AE-F125-4388-AAC2-90396541D5B7}" dt="2025-07-09T08:14:47.453" v="5949" actId="692"/>
          <ac:cxnSpMkLst>
            <pc:docMk/>
            <pc:sldMk cId="3891277066" sldId="889"/>
            <ac:cxnSpMk id="28" creationId="{A822BDE5-1988-CD87-901A-B99460072BBB}"/>
          </ac:cxnSpMkLst>
        </pc:cxnChg>
        <pc:cxnChg chg="mod ord">
          <ac:chgData name="Bedel, Yanick Noah" userId="c0f86fc0-9b55-4d74-958a-ff514487524f" providerId="ADAL" clId="{5DCB94AE-F125-4388-AAC2-90396541D5B7}" dt="2025-07-09T08:15:33.163" v="5952" actId="167"/>
          <ac:cxnSpMkLst>
            <pc:docMk/>
            <pc:sldMk cId="3891277066" sldId="889"/>
            <ac:cxnSpMk id="42" creationId="{7520B54E-BF60-4645-5FAC-A664B9A5E2E6}"/>
          </ac:cxnSpMkLst>
        </pc:cxnChg>
        <pc:cxnChg chg="mod ord">
          <ac:chgData name="Bedel, Yanick Noah" userId="c0f86fc0-9b55-4d74-958a-ff514487524f" providerId="ADAL" clId="{5DCB94AE-F125-4388-AAC2-90396541D5B7}" dt="2025-07-09T08:15:38.412" v="5953" actId="167"/>
          <ac:cxnSpMkLst>
            <pc:docMk/>
            <pc:sldMk cId="3891277066" sldId="889"/>
            <ac:cxnSpMk id="43" creationId="{3A97E608-CF2D-2ED5-F0D3-33BB03B12FB2}"/>
          </ac:cxnSpMkLst>
        </pc:cxnChg>
      </pc:sldChg>
      <pc:sldChg chg="modSp add del mod">
        <pc:chgData name="Bedel, Yanick Noah" userId="c0f86fc0-9b55-4d74-958a-ff514487524f" providerId="ADAL" clId="{5DCB94AE-F125-4388-AAC2-90396541D5B7}" dt="2025-07-09T08:18:49.503" v="5968" actId="47"/>
        <pc:sldMkLst>
          <pc:docMk/>
          <pc:sldMk cId="2404532634" sldId="890"/>
        </pc:sldMkLst>
        <pc:spChg chg="mod">
          <ac:chgData name="Bedel, Yanick Noah" userId="c0f86fc0-9b55-4d74-958a-ff514487524f" providerId="ADAL" clId="{5DCB94AE-F125-4388-AAC2-90396541D5B7}" dt="2025-07-09T08:17:07.852" v="5960" actId="207"/>
          <ac:spMkLst>
            <pc:docMk/>
            <pc:sldMk cId="2404532634" sldId="890"/>
            <ac:spMk id="25" creationId="{741EDC57-ECBC-CF7C-ABA4-5DC96859220C}"/>
          </ac:spMkLst>
        </pc:spChg>
        <pc:spChg chg="mod">
          <ac:chgData name="Bedel, Yanick Noah" userId="c0f86fc0-9b55-4d74-958a-ff514487524f" providerId="ADAL" clId="{5DCB94AE-F125-4388-AAC2-90396541D5B7}" dt="2025-07-09T08:17:07.852" v="5960" actId="207"/>
          <ac:spMkLst>
            <pc:docMk/>
            <pc:sldMk cId="2404532634" sldId="890"/>
            <ac:spMk id="27" creationId="{5EA08112-F0A4-A6EA-19AD-D852834968F6}"/>
          </ac:spMkLst>
        </pc:spChg>
        <pc:spChg chg="mod">
          <ac:chgData name="Bedel, Yanick Noah" userId="c0f86fc0-9b55-4d74-958a-ff514487524f" providerId="ADAL" clId="{5DCB94AE-F125-4388-AAC2-90396541D5B7}" dt="2025-07-09T08:17:07.852" v="5960" actId="207"/>
          <ac:spMkLst>
            <pc:docMk/>
            <pc:sldMk cId="2404532634" sldId="890"/>
            <ac:spMk id="29" creationId="{6AD201B0-7403-CB29-C0F9-912EFE0962B7}"/>
          </ac:spMkLst>
        </pc:spChg>
        <pc:spChg chg="mod">
          <ac:chgData name="Bedel, Yanick Noah" userId="c0f86fc0-9b55-4d74-958a-ff514487524f" providerId="ADAL" clId="{5DCB94AE-F125-4388-AAC2-90396541D5B7}" dt="2025-07-09T08:17:07.852" v="5960" actId="207"/>
          <ac:spMkLst>
            <pc:docMk/>
            <pc:sldMk cId="2404532634" sldId="890"/>
            <ac:spMk id="36" creationId="{A4686E82-942C-5BE5-9FF1-912D3B001219}"/>
          </ac:spMkLst>
        </pc:spChg>
        <pc:spChg chg="mod">
          <ac:chgData name="Bedel, Yanick Noah" userId="c0f86fc0-9b55-4d74-958a-ff514487524f" providerId="ADAL" clId="{5DCB94AE-F125-4388-AAC2-90396541D5B7}" dt="2025-07-09T08:17:07.852" v="5960" actId="207"/>
          <ac:spMkLst>
            <pc:docMk/>
            <pc:sldMk cId="2404532634" sldId="890"/>
            <ac:spMk id="45" creationId="{3F836F4B-7917-73A4-2074-BCA5436C0E4D}"/>
          </ac:spMkLst>
        </pc:spChg>
        <pc:cxnChg chg="mod">
          <ac:chgData name="Bedel, Yanick Noah" userId="c0f86fc0-9b55-4d74-958a-ff514487524f" providerId="ADAL" clId="{5DCB94AE-F125-4388-AAC2-90396541D5B7}" dt="2025-07-09T08:16:15.340" v="5956" actId="692"/>
          <ac:cxnSpMkLst>
            <pc:docMk/>
            <pc:sldMk cId="2404532634" sldId="890"/>
            <ac:cxnSpMk id="24" creationId="{9248FA2C-B5FD-9F47-06B3-5004006FE4C0}"/>
          </ac:cxnSpMkLst>
        </pc:cxnChg>
        <pc:cxnChg chg="mod">
          <ac:chgData name="Bedel, Yanick Noah" userId="c0f86fc0-9b55-4d74-958a-ff514487524f" providerId="ADAL" clId="{5DCB94AE-F125-4388-AAC2-90396541D5B7}" dt="2025-07-09T08:16:15.340" v="5956" actId="692"/>
          <ac:cxnSpMkLst>
            <pc:docMk/>
            <pc:sldMk cId="2404532634" sldId="890"/>
            <ac:cxnSpMk id="26" creationId="{45F89035-A848-14E9-8B11-8EA4573B3147}"/>
          </ac:cxnSpMkLst>
        </pc:cxnChg>
        <pc:cxnChg chg="mod">
          <ac:chgData name="Bedel, Yanick Noah" userId="c0f86fc0-9b55-4d74-958a-ff514487524f" providerId="ADAL" clId="{5DCB94AE-F125-4388-AAC2-90396541D5B7}" dt="2025-07-09T08:16:15.340" v="5956" actId="692"/>
          <ac:cxnSpMkLst>
            <pc:docMk/>
            <pc:sldMk cId="2404532634" sldId="890"/>
            <ac:cxnSpMk id="28" creationId="{CC0356FA-44E4-6C2E-CE26-4DFEA519DF11}"/>
          </ac:cxnSpMkLst>
        </pc:cxnChg>
        <pc:cxnChg chg="mod">
          <ac:chgData name="Bedel, Yanick Noah" userId="c0f86fc0-9b55-4d74-958a-ff514487524f" providerId="ADAL" clId="{5DCB94AE-F125-4388-AAC2-90396541D5B7}" dt="2025-07-09T08:16:15.340" v="5956" actId="692"/>
          <ac:cxnSpMkLst>
            <pc:docMk/>
            <pc:sldMk cId="2404532634" sldId="890"/>
            <ac:cxnSpMk id="42" creationId="{A30DC6C7-F39B-6E5E-DEED-311D6556097F}"/>
          </ac:cxnSpMkLst>
        </pc:cxnChg>
        <pc:cxnChg chg="mod">
          <ac:chgData name="Bedel, Yanick Noah" userId="c0f86fc0-9b55-4d74-958a-ff514487524f" providerId="ADAL" clId="{5DCB94AE-F125-4388-AAC2-90396541D5B7}" dt="2025-07-09T08:16:15.340" v="5956" actId="692"/>
          <ac:cxnSpMkLst>
            <pc:docMk/>
            <pc:sldMk cId="2404532634" sldId="890"/>
            <ac:cxnSpMk id="43" creationId="{7E78CAE4-61B6-B151-D22A-0387CBF02657}"/>
          </ac:cxnSpMkLst>
        </pc:cxnChg>
      </pc:sldChg>
      <pc:sldChg chg="modSp add del mod">
        <pc:chgData name="Bedel, Yanick Noah" userId="c0f86fc0-9b55-4d74-958a-ff514487524f" providerId="ADAL" clId="{5DCB94AE-F125-4388-AAC2-90396541D5B7}" dt="2025-07-09T08:18:50.581" v="5969" actId="47"/>
        <pc:sldMkLst>
          <pc:docMk/>
          <pc:sldMk cId="901054195" sldId="891"/>
        </pc:sldMkLst>
        <pc:spChg chg="mod">
          <ac:chgData name="Bedel, Yanick Noah" userId="c0f86fc0-9b55-4d74-958a-ff514487524f" providerId="ADAL" clId="{5DCB94AE-F125-4388-AAC2-90396541D5B7}" dt="2025-07-09T08:16:34.237" v="5958" actId="207"/>
          <ac:spMkLst>
            <pc:docMk/>
            <pc:sldMk cId="901054195" sldId="891"/>
            <ac:spMk id="10" creationId="{45C26627-22E0-F7A0-AAD2-47C7589593F4}"/>
          </ac:spMkLst>
        </pc:spChg>
        <pc:spChg chg="mod">
          <ac:chgData name="Bedel, Yanick Noah" userId="c0f86fc0-9b55-4d74-958a-ff514487524f" providerId="ADAL" clId="{5DCB94AE-F125-4388-AAC2-90396541D5B7}" dt="2025-07-09T08:16:34.237" v="5958" actId="207"/>
          <ac:spMkLst>
            <pc:docMk/>
            <pc:sldMk cId="901054195" sldId="891"/>
            <ac:spMk id="16" creationId="{B8F8DCB9-1CB6-819B-3B42-DA3B19231CDC}"/>
          </ac:spMkLst>
        </pc:spChg>
        <pc:spChg chg="mod">
          <ac:chgData name="Bedel, Yanick Noah" userId="c0f86fc0-9b55-4d74-958a-ff514487524f" providerId="ADAL" clId="{5DCB94AE-F125-4388-AAC2-90396541D5B7}" dt="2025-07-09T08:16:34.237" v="5958" actId="207"/>
          <ac:spMkLst>
            <pc:docMk/>
            <pc:sldMk cId="901054195" sldId="891"/>
            <ac:spMk id="22" creationId="{5E9F78DC-2DEF-12C4-2709-36C45664B33C}"/>
          </ac:spMkLst>
        </pc:spChg>
        <pc:spChg chg="mod">
          <ac:chgData name="Bedel, Yanick Noah" userId="c0f86fc0-9b55-4d74-958a-ff514487524f" providerId="ADAL" clId="{5DCB94AE-F125-4388-AAC2-90396541D5B7}" dt="2025-07-09T08:16:50.584" v="5959" actId="207"/>
          <ac:spMkLst>
            <pc:docMk/>
            <pc:sldMk cId="901054195" sldId="891"/>
            <ac:spMk id="25" creationId="{4A908BB6-EB69-DD20-8D08-A7F5DE33C734}"/>
          </ac:spMkLst>
        </pc:spChg>
        <pc:spChg chg="mod">
          <ac:chgData name="Bedel, Yanick Noah" userId="c0f86fc0-9b55-4d74-958a-ff514487524f" providerId="ADAL" clId="{5DCB94AE-F125-4388-AAC2-90396541D5B7}" dt="2025-07-09T08:16:50.584" v="5959" actId="207"/>
          <ac:spMkLst>
            <pc:docMk/>
            <pc:sldMk cId="901054195" sldId="891"/>
            <ac:spMk id="27" creationId="{1977CA03-9A49-3B22-796E-AA657C1FE84B}"/>
          </ac:spMkLst>
        </pc:spChg>
        <pc:spChg chg="mod">
          <ac:chgData name="Bedel, Yanick Noah" userId="c0f86fc0-9b55-4d74-958a-ff514487524f" providerId="ADAL" clId="{5DCB94AE-F125-4388-AAC2-90396541D5B7}" dt="2025-07-09T08:16:50.584" v="5959" actId="207"/>
          <ac:spMkLst>
            <pc:docMk/>
            <pc:sldMk cId="901054195" sldId="891"/>
            <ac:spMk id="29" creationId="{93E29713-6885-E39A-CB05-3A7D6A4626C4}"/>
          </ac:spMkLst>
        </pc:spChg>
        <pc:spChg chg="mod">
          <ac:chgData name="Bedel, Yanick Noah" userId="c0f86fc0-9b55-4d74-958a-ff514487524f" providerId="ADAL" clId="{5DCB94AE-F125-4388-AAC2-90396541D5B7}" dt="2025-07-09T08:16:34.237" v="5958" actId="207"/>
          <ac:spMkLst>
            <pc:docMk/>
            <pc:sldMk cId="901054195" sldId="891"/>
            <ac:spMk id="34" creationId="{CA0F5934-13C9-183D-C250-E67FE4A5DFF1}"/>
          </ac:spMkLst>
        </pc:spChg>
        <pc:spChg chg="mod">
          <ac:chgData name="Bedel, Yanick Noah" userId="c0f86fc0-9b55-4d74-958a-ff514487524f" providerId="ADAL" clId="{5DCB94AE-F125-4388-AAC2-90396541D5B7}" dt="2025-07-09T08:16:50.584" v="5959" actId="207"/>
          <ac:spMkLst>
            <pc:docMk/>
            <pc:sldMk cId="901054195" sldId="891"/>
            <ac:spMk id="36" creationId="{4671DBCD-B5CF-C90E-2EAD-0ABD24F21F37}"/>
          </ac:spMkLst>
        </pc:spChg>
        <pc:spChg chg="mod">
          <ac:chgData name="Bedel, Yanick Noah" userId="c0f86fc0-9b55-4d74-958a-ff514487524f" providerId="ADAL" clId="{5DCB94AE-F125-4388-AAC2-90396541D5B7}" dt="2025-07-09T08:16:34.237" v="5958" actId="207"/>
          <ac:spMkLst>
            <pc:docMk/>
            <pc:sldMk cId="901054195" sldId="891"/>
            <ac:spMk id="41" creationId="{684ADEF0-48C3-8AA5-89BB-C882FF868CB0}"/>
          </ac:spMkLst>
        </pc:spChg>
        <pc:spChg chg="mod">
          <ac:chgData name="Bedel, Yanick Noah" userId="c0f86fc0-9b55-4d74-958a-ff514487524f" providerId="ADAL" clId="{5DCB94AE-F125-4388-AAC2-90396541D5B7}" dt="2025-07-09T08:16:50.584" v="5959" actId="207"/>
          <ac:spMkLst>
            <pc:docMk/>
            <pc:sldMk cId="901054195" sldId="891"/>
            <ac:spMk id="45" creationId="{0C3E37F3-296C-5868-AC0A-813EAE3E402F}"/>
          </ac:spMkLst>
        </pc:spChg>
      </pc:sldChg>
      <pc:sldChg chg="addSp modSp add del mod">
        <pc:chgData name="Bedel, Yanick Noah" userId="c0f86fc0-9b55-4d74-958a-ff514487524f" providerId="ADAL" clId="{5DCB94AE-F125-4388-AAC2-90396541D5B7}" dt="2025-07-09T15:48:39.396" v="9966" actId="47"/>
        <pc:sldMkLst>
          <pc:docMk/>
          <pc:sldMk cId="1659485168" sldId="892"/>
        </pc:sldMkLst>
        <pc:spChg chg="mod">
          <ac:chgData name="Bedel, Yanick Noah" userId="c0f86fc0-9b55-4d74-958a-ff514487524f" providerId="ADAL" clId="{5DCB94AE-F125-4388-AAC2-90396541D5B7}" dt="2025-07-09T08:17:49.609" v="5963" actId="207"/>
          <ac:spMkLst>
            <pc:docMk/>
            <pc:sldMk cId="1659485168" sldId="892"/>
            <ac:spMk id="10" creationId="{27E74C30-17FC-8D0C-76B6-301BC7589FE2}"/>
          </ac:spMkLst>
        </pc:spChg>
        <pc:spChg chg="mod">
          <ac:chgData name="Bedel, Yanick Noah" userId="c0f86fc0-9b55-4d74-958a-ff514487524f" providerId="ADAL" clId="{5DCB94AE-F125-4388-AAC2-90396541D5B7}" dt="2025-07-09T08:18:28.273" v="5965" actId="692"/>
          <ac:spMkLst>
            <pc:docMk/>
            <pc:sldMk cId="1659485168" sldId="892"/>
            <ac:spMk id="12" creationId="{711C8811-D4EF-6967-3403-A4F9484AFDDF}"/>
          </ac:spMkLst>
        </pc:spChg>
        <pc:spChg chg="mod">
          <ac:chgData name="Bedel, Yanick Noah" userId="c0f86fc0-9b55-4d74-958a-ff514487524f" providerId="ADAL" clId="{5DCB94AE-F125-4388-AAC2-90396541D5B7}" dt="2025-07-09T08:17:49.609" v="5963" actId="207"/>
          <ac:spMkLst>
            <pc:docMk/>
            <pc:sldMk cId="1659485168" sldId="892"/>
            <ac:spMk id="16" creationId="{2885511D-B59A-FA42-A45C-12DCDF4080E6}"/>
          </ac:spMkLst>
        </pc:spChg>
        <pc:spChg chg="mod">
          <ac:chgData name="Bedel, Yanick Noah" userId="c0f86fc0-9b55-4d74-958a-ff514487524f" providerId="ADAL" clId="{5DCB94AE-F125-4388-AAC2-90396541D5B7}" dt="2025-07-09T08:18:28.273" v="5965" actId="692"/>
          <ac:spMkLst>
            <pc:docMk/>
            <pc:sldMk cId="1659485168" sldId="892"/>
            <ac:spMk id="18" creationId="{34F0CF1B-CA50-9D27-D3A8-9D34DB79F849}"/>
          </ac:spMkLst>
        </pc:spChg>
        <pc:spChg chg="mod">
          <ac:chgData name="Bedel, Yanick Noah" userId="c0f86fc0-9b55-4d74-958a-ff514487524f" providerId="ADAL" clId="{5DCB94AE-F125-4388-AAC2-90396541D5B7}" dt="2025-07-09T08:17:49.609" v="5963" actId="207"/>
          <ac:spMkLst>
            <pc:docMk/>
            <pc:sldMk cId="1659485168" sldId="892"/>
            <ac:spMk id="22" creationId="{7338B382-2733-9BB8-E8D5-77CACDE505A1}"/>
          </ac:spMkLst>
        </pc:spChg>
        <pc:spChg chg="mod">
          <ac:chgData name="Bedel, Yanick Noah" userId="c0f86fc0-9b55-4d74-958a-ff514487524f" providerId="ADAL" clId="{5DCB94AE-F125-4388-AAC2-90396541D5B7}" dt="2025-07-09T08:21:49.689" v="6024" actId="1037"/>
          <ac:spMkLst>
            <pc:docMk/>
            <pc:sldMk cId="1659485168" sldId="892"/>
            <ac:spMk id="25" creationId="{19BD1068-F33A-705D-00CD-D27AE54ED185}"/>
          </ac:spMkLst>
        </pc:spChg>
        <pc:spChg chg="mod">
          <ac:chgData name="Bedel, Yanick Noah" userId="c0f86fc0-9b55-4d74-958a-ff514487524f" providerId="ADAL" clId="{5DCB94AE-F125-4388-AAC2-90396541D5B7}" dt="2025-07-09T08:21:49.689" v="6024" actId="1037"/>
          <ac:spMkLst>
            <pc:docMk/>
            <pc:sldMk cId="1659485168" sldId="892"/>
            <ac:spMk id="27" creationId="{CC9221F4-DDB0-BBD1-2561-7D7C5C4C8282}"/>
          </ac:spMkLst>
        </pc:spChg>
        <pc:spChg chg="mod">
          <ac:chgData name="Bedel, Yanick Noah" userId="c0f86fc0-9b55-4d74-958a-ff514487524f" providerId="ADAL" clId="{5DCB94AE-F125-4388-AAC2-90396541D5B7}" dt="2025-07-09T08:21:49.689" v="6024" actId="1037"/>
          <ac:spMkLst>
            <pc:docMk/>
            <pc:sldMk cId="1659485168" sldId="892"/>
            <ac:spMk id="29" creationId="{97A7887E-B724-2D23-CB45-DAE24E7C63C8}"/>
          </ac:spMkLst>
        </pc:spChg>
        <pc:spChg chg="mod">
          <ac:chgData name="Bedel, Yanick Noah" userId="c0f86fc0-9b55-4d74-958a-ff514487524f" providerId="ADAL" clId="{5DCB94AE-F125-4388-AAC2-90396541D5B7}" dt="2025-07-09T08:18:28.273" v="5965" actId="692"/>
          <ac:spMkLst>
            <pc:docMk/>
            <pc:sldMk cId="1659485168" sldId="892"/>
            <ac:spMk id="30" creationId="{2C988512-5AFF-FC7E-A555-0D5086565B52}"/>
          </ac:spMkLst>
        </pc:spChg>
        <pc:spChg chg="mod">
          <ac:chgData name="Bedel, Yanick Noah" userId="c0f86fc0-9b55-4d74-958a-ff514487524f" providerId="ADAL" clId="{5DCB94AE-F125-4388-AAC2-90396541D5B7}" dt="2025-07-09T08:17:49.609" v="5963" actId="207"/>
          <ac:spMkLst>
            <pc:docMk/>
            <pc:sldMk cId="1659485168" sldId="892"/>
            <ac:spMk id="34" creationId="{E7CD7820-E608-19B3-6BBE-8F7BC73EEF1F}"/>
          </ac:spMkLst>
        </pc:spChg>
        <pc:spChg chg="mod">
          <ac:chgData name="Bedel, Yanick Noah" userId="c0f86fc0-9b55-4d74-958a-ff514487524f" providerId="ADAL" clId="{5DCB94AE-F125-4388-AAC2-90396541D5B7}" dt="2025-07-09T08:21:49.689" v="6024" actId="1037"/>
          <ac:spMkLst>
            <pc:docMk/>
            <pc:sldMk cId="1659485168" sldId="892"/>
            <ac:spMk id="36" creationId="{29D550C0-56B9-40C1-E362-D9EC7E2ADA4E}"/>
          </ac:spMkLst>
        </pc:spChg>
        <pc:spChg chg="mod">
          <ac:chgData name="Bedel, Yanick Noah" userId="c0f86fc0-9b55-4d74-958a-ff514487524f" providerId="ADAL" clId="{5DCB94AE-F125-4388-AAC2-90396541D5B7}" dt="2025-07-09T08:18:28.273" v="5965" actId="692"/>
          <ac:spMkLst>
            <pc:docMk/>
            <pc:sldMk cId="1659485168" sldId="892"/>
            <ac:spMk id="37" creationId="{C3E7FCF8-DD58-39A2-6385-5B19FE50508E}"/>
          </ac:spMkLst>
        </pc:spChg>
        <pc:spChg chg="mod">
          <ac:chgData name="Bedel, Yanick Noah" userId="c0f86fc0-9b55-4d74-958a-ff514487524f" providerId="ADAL" clId="{5DCB94AE-F125-4388-AAC2-90396541D5B7}" dt="2025-07-09T08:17:49.609" v="5963" actId="207"/>
          <ac:spMkLst>
            <pc:docMk/>
            <pc:sldMk cId="1659485168" sldId="892"/>
            <ac:spMk id="41" creationId="{99DE09DA-8AF8-9893-0D2E-B711C26DD2D6}"/>
          </ac:spMkLst>
        </pc:spChg>
        <pc:spChg chg="mod">
          <ac:chgData name="Bedel, Yanick Noah" userId="c0f86fc0-9b55-4d74-958a-ff514487524f" providerId="ADAL" clId="{5DCB94AE-F125-4388-AAC2-90396541D5B7}" dt="2025-07-09T08:21:49.689" v="6024" actId="1037"/>
          <ac:spMkLst>
            <pc:docMk/>
            <pc:sldMk cId="1659485168" sldId="892"/>
            <ac:spMk id="45" creationId="{D2C1EF3E-23AC-C7C7-C305-F3FF2302BCDD}"/>
          </ac:spMkLst>
        </pc:spChg>
        <pc:spChg chg="mod">
          <ac:chgData name="Bedel, Yanick Noah" userId="c0f86fc0-9b55-4d74-958a-ff514487524f" providerId="ADAL" clId="{5DCB94AE-F125-4388-AAC2-90396541D5B7}" dt="2025-07-09T08:18:28.273" v="5965" actId="692"/>
          <ac:spMkLst>
            <pc:docMk/>
            <pc:sldMk cId="1659485168" sldId="892"/>
            <ac:spMk id="46" creationId="{B45A49D3-32AB-4D71-CF71-4517A2208B3C}"/>
          </ac:spMkLst>
        </pc:spChg>
        <pc:spChg chg="add mod">
          <ac:chgData name="Bedel, Yanick Noah" userId="c0f86fc0-9b55-4d74-958a-ff514487524f" providerId="ADAL" clId="{5DCB94AE-F125-4388-AAC2-90396541D5B7}" dt="2025-07-09T08:22:32.976" v="6032" actId="403"/>
          <ac:spMkLst>
            <pc:docMk/>
            <pc:sldMk cId="1659485168" sldId="892"/>
            <ac:spMk id="47" creationId="{F6C7199A-0F94-ACB9-56B3-F5C6D2C1D3AB}"/>
          </ac:spMkLst>
        </pc:spChg>
        <pc:spChg chg="add mod">
          <ac:chgData name="Bedel, Yanick Noah" userId="c0f86fc0-9b55-4d74-958a-ff514487524f" providerId="ADAL" clId="{5DCB94AE-F125-4388-AAC2-90396541D5B7}" dt="2025-07-09T08:22:27.541" v="6029" actId="403"/>
          <ac:spMkLst>
            <pc:docMk/>
            <pc:sldMk cId="1659485168" sldId="892"/>
            <ac:spMk id="48" creationId="{8F27D43A-E0F3-7114-F0AF-85001A53D23E}"/>
          </ac:spMkLst>
        </pc:spChg>
        <pc:cxnChg chg="ord">
          <ac:chgData name="Bedel, Yanick Noah" userId="c0f86fc0-9b55-4d74-958a-ff514487524f" providerId="ADAL" clId="{5DCB94AE-F125-4388-AAC2-90396541D5B7}" dt="2025-07-09T08:18:41.820" v="5966" actId="167"/>
          <ac:cxnSpMkLst>
            <pc:docMk/>
            <pc:sldMk cId="1659485168" sldId="892"/>
            <ac:cxnSpMk id="24" creationId="{A7D364B3-EAD7-96E0-8AD5-B793F8926139}"/>
          </ac:cxnSpMkLst>
        </pc:cxnChg>
        <pc:cxnChg chg="ord">
          <ac:chgData name="Bedel, Yanick Noah" userId="c0f86fc0-9b55-4d74-958a-ff514487524f" providerId="ADAL" clId="{5DCB94AE-F125-4388-AAC2-90396541D5B7}" dt="2025-07-09T08:18:41.820" v="5966" actId="167"/>
          <ac:cxnSpMkLst>
            <pc:docMk/>
            <pc:sldMk cId="1659485168" sldId="892"/>
            <ac:cxnSpMk id="26" creationId="{A9859533-DE7C-8B00-B81E-25C3EF61B243}"/>
          </ac:cxnSpMkLst>
        </pc:cxnChg>
        <pc:cxnChg chg="ord">
          <ac:chgData name="Bedel, Yanick Noah" userId="c0f86fc0-9b55-4d74-958a-ff514487524f" providerId="ADAL" clId="{5DCB94AE-F125-4388-AAC2-90396541D5B7}" dt="2025-07-09T08:18:41.820" v="5966" actId="167"/>
          <ac:cxnSpMkLst>
            <pc:docMk/>
            <pc:sldMk cId="1659485168" sldId="892"/>
            <ac:cxnSpMk id="28" creationId="{EB29B2E4-6543-4417-2308-11064422F53B}"/>
          </ac:cxnSpMkLst>
        </pc:cxnChg>
        <pc:cxnChg chg="ord">
          <ac:chgData name="Bedel, Yanick Noah" userId="c0f86fc0-9b55-4d74-958a-ff514487524f" providerId="ADAL" clId="{5DCB94AE-F125-4388-AAC2-90396541D5B7}" dt="2025-07-09T08:18:41.820" v="5966" actId="167"/>
          <ac:cxnSpMkLst>
            <pc:docMk/>
            <pc:sldMk cId="1659485168" sldId="892"/>
            <ac:cxnSpMk id="42" creationId="{B3A5430C-2460-4D54-D433-188868BCD006}"/>
          </ac:cxnSpMkLst>
        </pc:cxnChg>
        <pc:cxnChg chg="ord">
          <ac:chgData name="Bedel, Yanick Noah" userId="c0f86fc0-9b55-4d74-958a-ff514487524f" providerId="ADAL" clId="{5DCB94AE-F125-4388-AAC2-90396541D5B7}" dt="2025-07-09T08:18:41.820" v="5966" actId="167"/>
          <ac:cxnSpMkLst>
            <pc:docMk/>
            <pc:sldMk cId="1659485168" sldId="892"/>
            <ac:cxnSpMk id="43" creationId="{A1694F80-CDF0-FEC1-391C-424A66072201}"/>
          </ac:cxnSpMkLst>
        </pc:cxnChg>
      </pc:sldChg>
      <pc:sldChg chg="modSp add del mod">
        <pc:chgData name="Bedel, Yanick Noah" userId="c0f86fc0-9b55-4d74-958a-ff514487524f" providerId="ADAL" clId="{5DCB94AE-F125-4388-AAC2-90396541D5B7}" dt="2025-07-09T08:21:31.327" v="6009" actId="47"/>
        <pc:sldMkLst>
          <pc:docMk/>
          <pc:sldMk cId="2138491967" sldId="893"/>
        </pc:sldMkLst>
        <pc:spChg chg="mod">
          <ac:chgData name="Bedel, Yanick Noah" userId="c0f86fc0-9b55-4d74-958a-ff514487524f" providerId="ADAL" clId="{5DCB94AE-F125-4388-AAC2-90396541D5B7}" dt="2025-07-09T08:20:58.836" v="6007" actId="207"/>
          <ac:spMkLst>
            <pc:docMk/>
            <pc:sldMk cId="2138491967" sldId="893"/>
            <ac:spMk id="47" creationId="{F042C7E9-9815-D13F-ABD2-5B3620E95C4A}"/>
          </ac:spMkLst>
        </pc:spChg>
        <pc:spChg chg="mod">
          <ac:chgData name="Bedel, Yanick Noah" userId="c0f86fc0-9b55-4d74-958a-ff514487524f" providerId="ADAL" clId="{5DCB94AE-F125-4388-AAC2-90396541D5B7}" dt="2025-07-09T08:21:01.614" v="6008" actId="207"/>
          <ac:spMkLst>
            <pc:docMk/>
            <pc:sldMk cId="2138491967" sldId="893"/>
            <ac:spMk id="48" creationId="{A9FF3207-B983-C4D6-FD91-6D674F90B9C3}"/>
          </ac:spMkLst>
        </pc:spChg>
      </pc:sldChg>
      <pc:sldChg chg="addSp delSp modSp add del mod ord delAnim modAnim">
        <pc:chgData name="Bedel, Yanick Noah" userId="c0f86fc0-9b55-4d74-958a-ff514487524f" providerId="ADAL" clId="{5DCB94AE-F125-4388-AAC2-90396541D5B7}" dt="2025-07-09T15:30:30.728" v="9677" actId="47"/>
        <pc:sldMkLst>
          <pc:docMk/>
          <pc:sldMk cId="2815912021" sldId="893"/>
        </pc:sldMkLst>
        <pc:spChg chg="mod">
          <ac:chgData name="Bedel, Yanick Noah" userId="c0f86fc0-9b55-4d74-958a-ff514487524f" providerId="ADAL" clId="{5DCB94AE-F125-4388-AAC2-90396541D5B7}" dt="2025-07-09T13:03:48.030" v="7832" actId="1076"/>
          <ac:spMkLst>
            <pc:docMk/>
            <pc:sldMk cId="2815912021" sldId="893"/>
            <ac:spMk id="2" creationId="{70D2BB1A-3F01-BD81-EC16-1FA653373005}"/>
          </ac:spMkLst>
        </pc:spChg>
        <pc:spChg chg="del">
          <ac:chgData name="Bedel, Yanick Noah" userId="c0f86fc0-9b55-4d74-958a-ff514487524f" providerId="ADAL" clId="{5DCB94AE-F125-4388-AAC2-90396541D5B7}" dt="2025-07-09T13:03:36.349" v="7829" actId="478"/>
          <ac:spMkLst>
            <pc:docMk/>
            <pc:sldMk cId="2815912021" sldId="893"/>
            <ac:spMk id="7" creationId="{000C4243-05D7-E60C-F2F0-657B7BD92295}"/>
          </ac:spMkLst>
        </pc:spChg>
        <pc:spChg chg="mod">
          <ac:chgData name="Bedel, Yanick Noah" userId="c0f86fc0-9b55-4d74-958a-ff514487524f" providerId="ADAL" clId="{5DCB94AE-F125-4388-AAC2-90396541D5B7}" dt="2025-07-09T12:51:10.009" v="7802"/>
          <ac:spMkLst>
            <pc:docMk/>
            <pc:sldMk cId="2815912021" sldId="893"/>
            <ac:spMk id="11" creationId="{50C0C22E-02B0-CDE6-BF21-05B0BB9285D3}"/>
          </ac:spMkLst>
        </pc:spChg>
        <pc:grpChg chg="add mod">
          <ac:chgData name="Bedel, Yanick Noah" userId="c0f86fc0-9b55-4d74-958a-ff514487524f" providerId="ADAL" clId="{5DCB94AE-F125-4388-AAC2-90396541D5B7}" dt="2025-07-09T12:51:10.009" v="7802"/>
          <ac:grpSpMkLst>
            <pc:docMk/>
            <pc:sldMk cId="2815912021" sldId="893"/>
            <ac:grpSpMk id="10" creationId="{ECBAF307-80C7-C2A8-02D9-DFB25C50D37F}"/>
          </ac:grpSpMkLst>
        </pc:grpChg>
        <pc:grpChg chg="del">
          <ac:chgData name="Bedel, Yanick Noah" userId="c0f86fc0-9b55-4d74-958a-ff514487524f" providerId="ADAL" clId="{5DCB94AE-F125-4388-AAC2-90396541D5B7}" dt="2025-07-09T12:44:55.633" v="7564" actId="478"/>
          <ac:grpSpMkLst>
            <pc:docMk/>
            <pc:sldMk cId="2815912021" sldId="893"/>
            <ac:grpSpMk id="63" creationId="{F3573838-36FA-EAF4-88BD-9AF34DC66433}"/>
          </ac:grpSpMkLst>
        </pc:grpChg>
        <pc:picChg chg="add del mod">
          <ac:chgData name="Bedel, Yanick Noah" userId="c0f86fc0-9b55-4d74-958a-ff514487524f" providerId="ADAL" clId="{5DCB94AE-F125-4388-AAC2-90396541D5B7}" dt="2025-07-09T12:47:17.673" v="7585" actId="478"/>
          <ac:picMkLst>
            <pc:docMk/>
            <pc:sldMk cId="2815912021" sldId="893"/>
            <ac:picMk id="9" creationId="{D701D408-8958-E6EE-4A8B-05D221906C6B}"/>
          </ac:picMkLst>
        </pc:picChg>
        <pc:picChg chg="mod">
          <ac:chgData name="Bedel, Yanick Noah" userId="c0f86fc0-9b55-4d74-958a-ff514487524f" providerId="ADAL" clId="{5DCB94AE-F125-4388-AAC2-90396541D5B7}" dt="2025-07-09T12:51:10.009" v="7802"/>
          <ac:picMkLst>
            <pc:docMk/>
            <pc:sldMk cId="2815912021" sldId="893"/>
            <ac:picMk id="12" creationId="{2961981B-AEEB-E60F-FEB7-262C4DB03853}"/>
          </ac:picMkLst>
        </pc:picChg>
      </pc:sldChg>
      <pc:sldChg chg="addSp delSp modSp add del">
        <pc:chgData name="Bedel, Yanick Noah" userId="c0f86fc0-9b55-4d74-958a-ff514487524f" providerId="ADAL" clId="{5DCB94AE-F125-4388-AAC2-90396541D5B7}" dt="2025-07-09T12:06:43.828" v="7546" actId="47"/>
        <pc:sldMkLst>
          <pc:docMk/>
          <pc:sldMk cId="3081542021" sldId="893"/>
        </pc:sldMkLst>
        <pc:picChg chg="add del mod">
          <ac:chgData name="Bedel, Yanick Noah" userId="c0f86fc0-9b55-4d74-958a-ff514487524f" providerId="ADAL" clId="{5DCB94AE-F125-4388-AAC2-90396541D5B7}" dt="2025-07-09T12:06:41.075" v="7545" actId="478"/>
          <ac:picMkLst>
            <pc:docMk/>
            <pc:sldMk cId="3081542021" sldId="893"/>
            <ac:picMk id="1026" creationId="{71ADABC1-9283-DD27-6BCA-6395D0F9C509}"/>
          </ac:picMkLst>
        </pc:picChg>
      </pc:sldChg>
      <pc:sldChg chg="addSp delSp modSp add del mod modShow">
        <pc:chgData name="Bedel, Yanick Noah" userId="c0f86fc0-9b55-4d74-958a-ff514487524f" providerId="ADAL" clId="{5DCB94AE-F125-4388-AAC2-90396541D5B7}" dt="2025-07-09T13:03:08.758" v="7828" actId="47"/>
        <pc:sldMkLst>
          <pc:docMk/>
          <pc:sldMk cId="1143804192" sldId="894"/>
        </pc:sldMkLst>
        <pc:spChg chg="add mod">
          <ac:chgData name="Bedel, Yanick Noah" userId="c0f86fc0-9b55-4d74-958a-ff514487524f" providerId="ADAL" clId="{5DCB94AE-F125-4388-AAC2-90396541D5B7}" dt="2025-07-09T12:48:50.771" v="7602" actId="164"/>
          <ac:spMkLst>
            <pc:docMk/>
            <pc:sldMk cId="1143804192" sldId="894"/>
            <ac:spMk id="8" creationId="{D8C396F8-353E-50B5-AEA4-3C414ADC4A90}"/>
          </ac:spMkLst>
        </pc:spChg>
        <pc:grpChg chg="add del mod">
          <ac:chgData name="Bedel, Yanick Noah" userId="c0f86fc0-9b55-4d74-958a-ff514487524f" providerId="ADAL" clId="{5DCB94AE-F125-4388-AAC2-90396541D5B7}" dt="2025-07-09T12:51:12.385" v="7803" actId="478"/>
          <ac:grpSpMkLst>
            <pc:docMk/>
            <pc:sldMk cId="1143804192" sldId="894"/>
            <ac:grpSpMk id="10" creationId="{11364680-12C5-5866-70F2-742C27687690}"/>
          </ac:grpSpMkLst>
        </pc:grpChg>
        <pc:picChg chg="mod ord">
          <ac:chgData name="Bedel, Yanick Noah" userId="c0f86fc0-9b55-4d74-958a-ff514487524f" providerId="ADAL" clId="{5DCB94AE-F125-4388-AAC2-90396541D5B7}" dt="2025-07-09T12:48:50.771" v="7602" actId="164"/>
          <ac:picMkLst>
            <pc:docMk/>
            <pc:sldMk cId="1143804192" sldId="894"/>
            <ac:picMk id="9" creationId="{82614148-2576-0C76-5064-8E6368DC1A5A}"/>
          </ac:picMkLst>
        </pc:picChg>
      </pc:sldChg>
      <pc:sldChg chg="modSp add del mod">
        <pc:chgData name="Bedel, Yanick Noah" userId="c0f86fc0-9b55-4d74-958a-ff514487524f" providerId="ADAL" clId="{5DCB94AE-F125-4388-AAC2-90396541D5B7}" dt="2025-07-09T14:40:38.897" v="8650" actId="47"/>
        <pc:sldMkLst>
          <pc:docMk/>
          <pc:sldMk cId="1609353555" sldId="894"/>
        </pc:sldMkLst>
        <pc:spChg chg="mod">
          <ac:chgData name="Bedel, Yanick Noah" userId="c0f86fc0-9b55-4d74-958a-ff514487524f" providerId="ADAL" clId="{5DCB94AE-F125-4388-AAC2-90396541D5B7}" dt="2025-07-09T14:40:19.318" v="8649" actId="207"/>
          <ac:spMkLst>
            <pc:docMk/>
            <pc:sldMk cId="1609353555" sldId="894"/>
            <ac:spMk id="31" creationId="{C0D9EDBB-AD5D-B100-1801-BA8D0E7A36B3}"/>
          </ac:spMkLst>
        </pc:spChg>
        <pc:spChg chg="mod">
          <ac:chgData name="Bedel, Yanick Noah" userId="c0f86fc0-9b55-4d74-958a-ff514487524f" providerId="ADAL" clId="{5DCB94AE-F125-4388-AAC2-90396541D5B7}" dt="2025-07-09T14:40:19.318" v="8649" actId="207"/>
          <ac:spMkLst>
            <pc:docMk/>
            <pc:sldMk cId="1609353555" sldId="894"/>
            <ac:spMk id="32" creationId="{C1537E49-B4CA-E51F-4F05-595B22ABA80B}"/>
          </ac:spMkLst>
        </pc:spChg>
        <pc:spChg chg="mod">
          <ac:chgData name="Bedel, Yanick Noah" userId="c0f86fc0-9b55-4d74-958a-ff514487524f" providerId="ADAL" clId="{5DCB94AE-F125-4388-AAC2-90396541D5B7}" dt="2025-07-09T14:40:19.318" v="8649" actId="207"/>
          <ac:spMkLst>
            <pc:docMk/>
            <pc:sldMk cId="1609353555" sldId="894"/>
            <ac:spMk id="33" creationId="{F719DB19-48F1-0FA3-3172-795FDAA7B448}"/>
          </ac:spMkLst>
        </pc:spChg>
        <pc:spChg chg="mod">
          <ac:chgData name="Bedel, Yanick Noah" userId="c0f86fc0-9b55-4d74-958a-ff514487524f" providerId="ADAL" clId="{5DCB94AE-F125-4388-AAC2-90396541D5B7}" dt="2025-07-09T14:40:19.318" v="8649" actId="207"/>
          <ac:spMkLst>
            <pc:docMk/>
            <pc:sldMk cId="1609353555" sldId="894"/>
            <ac:spMk id="34" creationId="{B8019446-223A-9B70-7131-918A3356E61F}"/>
          </ac:spMkLst>
        </pc:spChg>
      </pc:sldChg>
      <pc:sldChg chg="add">
        <pc:chgData name="Bedel, Yanick Noah" userId="c0f86fc0-9b55-4d74-958a-ff514487524f" providerId="ADAL" clId="{5DCB94AE-F125-4388-AAC2-90396541D5B7}" dt="2025-07-09T15:30:28.059" v="9676"/>
        <pc:sldMkLst>
          <pc:docMk/>
          <pc:sldMk cId="2834901102" sldId="894"/>
        </pc:sldMkLst>
      </pc:sldChg>
      <pc:sldChg chg="addSp delSp modSp add mod">
        <pc:chgData name="Bedel, Yanick Noah" userId="c0f86fc0-9b55-4d74-958a-ff514487524f" providerId="ADAL" clId="{5DCB94AE-F125-4388-AAC2-90396541D5B7}" dt="2025-07-09T16:03:59.384" v="11008" actId="1036"/>
        <pc:sldMkLst>
          <pc:docMk/>
          <pc:sldMk cId="3413914380" sldId="895"/>
        </pc:sldMkLst>
        <pc:spChg chg="mod">
          <ac:chgData name="Bedel, Yanick Noah" userId="c0f86fc0-9b55-4d74-958a-ff514487524f" providerId="ADAL" clId="{5DCB94AE-F125-4388-AAC2-90396541D5B7}" dt="2025-07-09T15:40:34.445" v="9818" actId="164"/>
          <ac:spMkLst>
            <pc:docMk/>
            <pc:sldMk cId="3413914380" sldId="895"/>
            <ac:spMk id="7" creationId="{5AE12241-EE53-0DC0-DDB2-2AD356E6B796}"/>
          </ac:spMkLst>
        </pc:spChg>
        <pc:spChg chg="mod">
          <ac:chgData name="Bedel, Yanick Noah" userId="c0f86fc0-9b55-4d74-958a-ff514487524f" providerId="ADAL" clId="{5DCB94AE-F125-4388-AAC2-90396541D5B7}" dt="2025-07-09T15:41:41.679" v="9833" actId="20577"/>
          <ac:spMkLst>
            <pc:docMk/>
            <pc:sldMk cId="3413914380" sldId="895"/>
            <ac:spMk id="8" creationId="{977A0A6A-2D87-A55D-ACB3-58CF5B3E0A2E}"/>
          </ac:spMkLst>
        </pc:spChg>
        <pc:spChg chg="mod">
          <ac:chgData name="Bedel, Yanick Noah" userId="c0f86fc0-9b55-4d74-958a-ff514487524f" providerId="ADAL" clId="{5DCB94AE-F125-4388-AAC2-90396541D5B7}" dt="2025-07-09T15:40:34.445" v="9818" actId="164"/>
          <ac:spMkLst>
            <pc:docMk/>
            <pc:sldMk cId="3413914380" sldId="895"/>
            <ac:spMk id="9" creationId="{70E56405-99FE-1E76-2123-7055DF0E7FFA}"/>
          </ac:spMkLst>
        </pc:spChg>
        <pc:spChg chg="mod">
          <ac:chgData name="Bedel, Yanick Noah" userId="c0f86fc0-9b55-4d74-958a-ff514487524f" providerId="ADAL" clId="{5DCB94AE-F125-4388-AAC2-90396541D5B7}" dt="2025-07-09T15:40:34.445" v="9818" actId="164"/>
          <ac:spMkLst>
            <pc:docMk/>
            <pc:sldMk cId="3413914380" sldId="895"/>
            <ac:spMk id="10" creationId="{C5C72F30-C4BE-7121-C26D-632B5CB2EC80}"/>
          </ac:spMkLst>
        </pc:spChg>
        <pc:spChg chg="mod">
          <ac:chgData name="Bedel, Yanick Noah" userId="c0f86fc0-9b55-4d74-958a-ff514487524f" providerId="ADAL" clId="{5DCB94AE-F125-4388-AAC2-90396541D5B7}" dt="2025-07-09T15:57:13.506" v="10163" actId="790"/>
          <ac:spMkLst>
            <pc:docMk/>
            <pc:sldMk cId="3413914380" sldId="895"/>
            <ac:spMk id="11" creationId="{83239B32-D836-7503-5340-002E97EC49FB}"/>
          </ac:spMkLst>
        </pc:spChg>
        <pc:spChg chg="mod">
          <ac:chgData name="Bedel, Yanick Noah" userId="c0f86fc0-9b55-4d74-958a-ff514487524f" providerId="ADAL" clId="{5DCB94AE-F125-4388-AAC2-90396541D5B7}" dt="2025-07-09T15:40:34.445" v="9818" actId="164"/>
          <ac:spMkLst>
            <pc:docMk/>
            <pc:sldMk cId="3413914380" sldId="895"/>
            <ac:spMk id="12" creationId="{5F029F6B-3B88-5412-62C8-65143B30CB78}"/>
          </ac:spMkLst>
        </pc:spChg>
        <pc:spChg chg="mod">
          <ac:chgData name="Bedel, Yanick Noah" userId="c0f86fc0-9b55-4d74-958a-ff514487524f" providerId="ADAL" clId="{5DCB94AE-F125-4388-AAC2-90396541D5B7}" dt="2025-07-09T15:40:18.608" v="9816" actId="164"/>
          <ac:spMkLst>
            <pc:docMk/>
            <pc:sldMk cId="3413914380" sldId="895"/>
            <ac:spMk id="13" creationId="{1909180E-7CD3-6864-2D0D-AC3B39BB4C69}"/>
          </ac:spMkLst>
        </pc:spChg>
        <pc:spChg chg="mod">
          <ac:chgData name="Bedel, Yanick Noah" userId="c0f86fc0-9b55-4d74-958a-ff514487524f" providerId="ADAL" clId="{5DCB94AE-F125-4388-AAC2-90396541D5B7}" dt="2025-07-09T15:42:17.689" v="9887" actId="20577"/>
          <ac:spMkLst>
            <pc:docMk/>
            <pc:sldMk cId="3413914380" sldId="895"/>
            <ac:spMk id="14" creationId="{3692BFB1-4B48-11D2-BA5B-A4679E11224B}"/>
          </ac:spMkLst>
        </pc:spChg>
        <pc:spChg chg="mod">
          <ac:chgData name="Bedel, Yanick Noah" userId="c0f86fc0-9b55-4d74-958a-ff514487524f" providerId="ADAL" clId="{5DCB94AE-F125-4388-AAC2-90396541D5B7}" dt="2025-07-09T15:40:18.608" v="9816" actId="164"/>
          <ac:spMkLst>
            <pc:docMk/>
            <pc:sldMk cId="3413914380" sldId="895"/>
            <ac:spMk id="15" creationId="{0EBEF320-38CF-8033-1F12-CFCE13A95698}"/>
          </ac:spMkLst>
        </pc:spChg>
        <pc:spChg chg="mod">
          <ac:chgData name="Bedel, Yanick Noah" userId="c0f86fc0-9b55-4d74-958a-ff514487524f" providerId="ADAL" clId="{5DCB94AE-F125-4388-AAC2-90396541D5B7}" dt="2025-07-09T15:40:18.608" v="9816" actId="164"/>
          <ac:spMkLst>
            <pc:docMk/>
            <pc:sldMk cId="3413914380" sldId="895"/>
            <ac:spMk id="16" creationId="{615E4349-E204-D5EF-7DF5-3088947F9425}"/>
          </ac:spMkLst>
        </pc:spChg>
        <pc:spChg chg="mod">
          <ac:chgData name="Bedel, Yanick Noah" userId="c0f86fc0-9b55-4d74-958a-ff514487524f" providerId="ADAL" clId="{5DCB94AE-F125-4388-AAC2-90396541D5B7}" dt="2025-07-09T16:01:57.306" v="10715" actId="20577"/>
          <ac:spMkLst>
            <pc:docMk/>
            <pc:sldMk cId="3413914380" sldId="895"/>
            <ac:spMk id="17" creationId="{823F701F-A7E5-B7CA-4F10-BBB61E1DFF49}"/>
          </ac:spMkLst>
        </pc:spChg>
        <pc:spChg chg="mod">
          <ac:chgData name="Bedel, Yanick Noah" userId="c0f86fc0-9b55-4d74-958a-ff514487524f" providerId="ADAL" clId="{5DCB94AE-F125-4388-AAC2-90396541D5B7}" dt="2025-07-09T15:40:18.608" v="9816" actId="164"/>
          <ac:spMkLst>
            <pc:docMk/>
            <pc:sldMk cId="3413914380" sldId="895"/>
            <ac:spMk id="18" creationId="{52E0242A-A67B-2900-9B96-685478B5CB6A}"/>
          </ac:spMkLst>
        </pc:spChg>
        <pc:spChg chg="del">
          <ac:chgData name="Bedel, Yanick Noah" userId="c0f86fc0-9b55-4d74-958a-ff514487524f" providerId="ADAL" clId="{5DCB94AE-F125-4388-AAC2-90396541D5B7}" dt="2025-07-09T15:39:23.641" v="9736" actId="478"/>
          <ac:spMkLst>
            <pc:docMk/>
            <pc:sldMk cId="3413914380" sldId="895"/>
            <ac:spMk id="19" creationId="{CEC1D6EC-4D25-3064-920F-85E4836DDE1B}"/>
          </ac:spMkLst>
        </pc:spChg>
        <pc:spChg chg="del">
          <ac:chgData name="Bedel, Yanick Noah" userId="c0f86fc0-9b55-4d74-958a-ff514487524f" providerId="ADAL" clId="{5DCB94AE-F125-4388-AAC2-90396541D5B7}" dt="2025-07-09T15:39:18.419" v="9732" actId="478"/>
          <ac:spMkLst>
            <pc:docMk/>
            <pc:sldMk cId="3413914380" sldId="895"/>
            <ac:spMk id="20" creationId="{70DF4285-2307-3941-0229-122B77AA1F15}"/>
          </ac:spMkLst>
        </pc:spChg>
        <pc:spChg chg="del">
          <ac:chgData name="Bedel, Yanick Noah" userId="c0f86fc0-9b55-4d74-958a-ff514487524f" providerId="ADAL" clId="{5DCB94AE-F125-4388-AAC2-90396541D5B7}" dt="2025-07-09T15:40:45.150" v="9820" actId="478"/>
          <ac:spMkLst>
            <pc:docMk/>
            <pc:sldMk cId="3413914380" sldId="895"/>
            <ac:spMk id="21" creationId="{D571112B-B9C5-FCC8-6413-BE053BD9EA34}"/>
          </ac:spMkLst>
        </pc:spChg>
        <pc:spChg chg="del">
          <ac:chgData name="Bedel, Yanick Noah" userId="c0f86fc0-9b55-4d74-958a-ff514487524f" providerId="ADAL" clId="{5DCB94AE-F125-4388-AAC2-90396541D5B7}" dt="2025-07-09T15:39:20.692" v="9733" actId="478"/>
          <ac:spMkLst>
            <pc:docMk/>
            <pc:sldMk cId="3413914380" sldId="895"/>
            <ac:spMk id="22" creationId="{81156E83-8B15-A474-EC0F-F460B3EF17A4}"/>
          </ac:spMkLst>
        </pc:spChg>
        <pc:spChg chg="del">
          <ac:chgData name="Bedel, Yanick Noah" userId="c0f86fc0-9b55-4d74-958a-ff514487524f" providerId="ADAL" clId="{5DCB94AE-F125-4388-AAC2-90396541D5B7}" dt="2025-07-09T15:39:26.376" v="9738" actId="478"/>
          <ac:spMkLst>
            <pc:docMk/>
            <pc:sldMk cId="3413914380" sldId="895"/>
            <ac:spMk id="23" creationId="{E976A1B9-9736-EEA5-2157-5D5633BBC1F0}"/>
          </ac:spMkLst>
        </pc:spChg>
        <pc:spChg chg="mod">
          <ac:chgData name="Bedel, Yanick Noah" userId="c0f86fc0-9b55-4d74-958a-ff514487524f" providerId="ADAL" clId="{5DCB94AE-F125-4388-AAC2-90396541D5B7}" dt="2025-07-09T15:49:53.048" v="9968" actId="20577"/>
          <ac:spMkLst>
            <pc:docMk/>
            <pc:sldMk cId="3413914380" sldId="895"/>
            <ac:spMk id="25" creationId="{941DEF3A-1401-41DD-7776-F54A738BD585}"/>
          </ac:spMkLst>
        </pc:spChg>
        <pc:spChg chg="mod">
          <ac:chgData name="Bedel, Yanick Noah" userId="c0f86fc0-9b55-4d74-958a-ff514487524f" providerId="ADAL" clId="{5DCB94AE-F125-4388-AAC2-90396541D5B7}" dt="2025-07-09T15:48:23.146" v="9965" actId="20577"/>
          <ac:spMkLst>
            <pc:docMk/>
            <pc:sldMk cId="3413914380" sldId="895"/>
            <ac:spMk id="27" creationId="{BB4F2F18-AA0A-CD5E-5405-0080B61D1EE1}"/>
          </ac:spMkLst>
        </pc:spChg>
        <pc:spChg chg="del">
          <ac:chgData name="Bedel, Yanick Noah" userId="c0f86fc0-9b55-4d74-958a-ff514487524f" providerId="ADAL" clId="{5DCB94AE-F125-4388-AAC2-90396541D5B7}" dt="2025-07-09T15:39:21.920" v="9734" actId="478"/>
          <ac:spMkLst>
            <pc:docMk/>
            <pc:sldMk cId="3413914380" sldId="895"/>
            <ac:spMk id="29" creationId="{B091069F-BF8D-C7F1-AEA3-4247FC2CF4FF}"/>
          </ac:spMkLst>
        </pc:spChg>
        <pc:spChg chg="del">
          <ac:chgData name="Bedel, Yanick Noah" userId="c0f86fc0-9b55-4d74-958a-ff514487524f" providerId="ADAL" clId="{5DCB94AE-F125-4388-AAC2-90396541D5B7}" dt="2025-07-09T15:39:24.645" v="9737" actId="478"/>
          <ac:spMkLst>
            <pc:docMk/>
            <pc:sldMk cId="3413914380" sldId="895"/>
            <ac:spMk id="30" creationId="{752D1247-47EB-5CF3-91D3-D8F6B5B9221D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1" creationId="{2488DFAB-C3F6-974A-4399-1BC16BDE83AA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2" creationId="{87EB7EE9-FDA0-BE49-7DC5-AD749EDC9806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3" creationId="{29D65528-AAD0-EA52-DD19-A99751B4818E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4" creationId="{E7630FD8-E06D-79BC-C3AF-E99AF9374F56}"/>
          </ac:spMkLst>
        </pc:spChg>
        <pc:spChg chg="mod topLvl">
          <ac:chgData name="Bedel, Yanick Noah" userId="c0f86fc0-9b55-4d74-958a-ff514487524f" providerId="ADAL" clId="{5DCB94AE-F125-4388-AAC2-90396541D5B7}" dt="2025-07-09T16:01:49.737" v="10714" actId="790"/>
          <ac:spMkLst>
            <pc:docMk/>
            <pc:sldMk cId="3413914380" sldId="895"/>
            <ac:spMk id="35" creationId="{D51D6F24-4B66-D845-658C-C5B416C691FB}"/>
          </ac:spMkLst>
        </pc:spChg>
        <pc:spChg chg="mod topLvl">
          <ac:chgData name="Bedel, Yanick Noah" userId="c0f86fc0-9b55-4d74-958a-ff514487524f" providerId="ADAL" clId="{5DCB94AE-F125-4388-AAC2-90396541D5B7}" dt="2025-07-09T15:59:20.671" v="10447" actId="165"/>
          <ac:spMkLst>
            <pc:docMk/>
            <pc:sldMk cId="3413914380" sldId="895"/>
            <ac:spMk id="36" creationId="{AA6E21C3-6A2B-7A06-3D47-9FFAC97F9DCF}"/>
          </ac:spMkLst>
        </pc:spChg>
        <pc:spChg chg="mod topLvl">
          <ac:chgData name="Bedel, Yanick Noah" userId="c0f86fc0-9b55-4d74-958a-ff514487524f" providerId="ADAL" clId="{5DCB94AE-F125-4388-AAC2-90396541D5B7}" dt="2025-07-09T15:59:20.671" v="10447" actId="165"/>
          <ac:spMkLst>
            <pc:docMk/>
            <pc:sldMk cId="3413914380" sldId="895"/>
            <ac:spMk id="37" creationId="{89AAE35F-018C-85E8-A876-38B7A86C4432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8" creationId="{75BBC72A-0336-7F54-9DC4-E9E211397C24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39" creationId="{C1A9F135-5ECC-1838-71E2-0ECE25F1B94B}"/>
          </ac:spMkLst>
        </pc:spChg>
        <pc:spChg chg="mod topLvl">
          <ac:chgData name="Bedel, Yanick Noah" userId="c0f86fc0-9b55-4d74-958a-ff514487524f" providerId="ADAL" clId="{5DCB94AE-F125-4388-AAC2-90396541D5B7}" dt="2025-07-09T15:59:38.612" v="10480" actId="1035"/>
          <ac:spMkLst>
            <pc:docMk/>
            <pc:sldMk cId="3413914380" sldId="895"/>
            <ac:spMk id="40" creationId="{35EB4AE1-E01A-9D32-6D95-C3E9651CBC76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41" creationId="{A68C4F83-31CA-BB73-35E8-A34FCCCF050A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44" creationId="{BD63B806-1F42-AFF9-6703-1E59C1FD8C26}"/>
          </ac:spMkLst>
        </pc:spChg>
        <pc:spChg chg="mod topLvl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45" creationId="{90B2662E-058A-0252-BB98-DAD9011CC835}"/>
          </ac:spMkLst>
        </pc:spChg>
        <pc:spChg chg="mod topLvl">
          <ac:chgData name="Bedel, Yanick Noah" userId="c0f86fc0-9b55-4d74-958a-ff514487524f" providerId="ADAL" clId="{5DCB94AE-F125-4388-AAC2-90396541D5B7}" dt="2025-07-09T15:59:25.647" v="10448" actId="165"/>
          <ac:spMkLst>
            <pc:docMk/>
            <pc:sldMk cId="3413914380" sldId="895"/>
            <ac:spMk id="46" creationId="{F378D2AF-DED0-8618-7D64-6CC341727AD8}"/>
          </ac:spMkLst>
        </pc:spChg>
        <pc:spChg chg="mod">
          <ac:chgData name="Bedel, Yanick Noah" userId="c0f86fc0-9b55-4d74-958a-ff514487524f" providerId="ADAL" clId="{5DCB94AE-F125-4388-AAC2-90396541D5B7}" dt="2025-07-09T16:03:59.384" v="11008" actId="1036"/>
          <ac:spMkLst>
            <pc:docMk/>
            <pc:sldMk cId="3413914380" sldId="895"/>
            <ac:spMk id="48" creationId="{C0E7362D-FB2B-8CBE-0FFC-31EAA791FA64}"/>
          </ac:spMkLst>
        </pc:spChg>
        <pc:spChg chg="del">
          <ac:chgData name="Bedel, Yanick Noah" userId="c0f86fc0-9b55-4d74-958a-ff514487524f" providerId="ADAL" clId="{5DCB94AE-F125-4388-AAC2-90396541D5B7}" dt="2025-07-09T15:53:02.275" v="9969" actId="478"/>
          <ac:spMkLst>
            <pc:docMk/>
            <pc:sldMk cId="3413914380" sldId="895"/>
            <ac:spMk id="54" creationId="{05572D93-2893-9361-22A7-CA8AD47833EA}"/>
          </ac:spMkLst>
        </pc:spChg>
        <pc:grpChg chg="add del mod">
          <ac:chgData name="Bedel, Yanick Noah" userId="c0f86fc0-9b55-4d74-958a-ff514487524f" providerId="ADAL" clId="{5DCB94AE-F125-4388-AAC2-90396541D5B7}" dt="2025-07-09T15:59:25.647" v="10448" actId="165"/>
          <ac:grpSpMkLst>
            <pc:docMk/>
            <pc:sldMk cId="3413914380" sldId="895"/>
            <ac:grpSpMk id="49" creationId="{FAC19F44-D338-E97E-35A4-1DE205F39A76}"/>
          </ac:grpSpMkLst>
        </pc:grpChg>
        <pc:grpChg chg="add mod">
          <ac:chgData name="Bedel, Yanick Noah" userId="c0f86fc0-9b55-4d74-958a-ff514487524f" providerId="ADAL" clId="{5DCB94AE-F125-4388-AAC2-90396541D5B7}" dt="2025-07-09T15:40:41.090" v="9819" actId="408"/>
          <ac:grpSpMkLst>
            <pc:docMk/>
            <pc:sldMk cId="3413914380" sldId="895"/>
            <ac:grpSpMk id="50" creationId="{91D5A42E-9407-6F9B-853F-F4F847C44CC9}"/>
          </ac:grpSpMkLst>
        </pc:grpChg>
        <pc:grpChg chg="add del mod">
          <ac:chgData name="Bedel, Yanick Noah" userId="c0f86fc0-9b55-4d74-958a-ff514487524f" providerId="ADAL" clId="{5DCB94AE-F125-4388-AAC2-90396541D5B7}" dt="2025-07-09T15:59:20.671" v="10447" actId="165"/>
          <ac:grpSpMkLst>
            <pc:docMk/>
            <pc:sldMk cId="3413914380" sldId="895"/>
            <ac:grpSpMk id="51" creationId="{5BDE8FA2-766E-7EF0-BB34-9A9C540B929D}"/>
          </ac:grpSpMkLst>
        </pc:grpChg>
        <pc:grpChg chg="add mod">
          <ac:chgData name="Bedel, Yanick Noah" userId="c0f86fc0-9b55-4d74-958a-ff514487524f" providerId="ADAL" clId="{5DCB94AE-F125-4388-AAC2-90396541D5B7}" dt="2025-07-09T15:40:34.445" v="9818" actId="164"/>
          <ac:grpSpMkLst>
            <pc:docMk/>
            <pc:sldMk cId="3413914380" sldId="895"/>
            <ac:grpSpMk id="52" creationId="{FA4C6B38-FA5B-CA76-F3EB-9D3F469CFC14}"/>
          </ac:grpSpMkLst>
        </pc:grpChg>
        <pc:cxnChg chg="mod">
          <ac:chgData name="Bedel, Yanick Noah" userId="c0f86fc0-9b55-4d74-958a-ff514487524f" providerId="ADAL" clId="{5DCB94AE-F125-4388-AAC2-90396541D5B7}" dt="2025-07-09T15:40:34.445" v="9818" actId="164"/>
          <ac:cxnSpMkLst>
            <pc:docMk/>
            <pc:sldMk cId="3413914380" sldId="895"/>
            <ac:cxnSpMk id="24" creationId="{12FF1D83-553B-FA18-443B-6CC63AE68437}"/>
          </ac:cxnSpMkLst>
        </pc:cxnChg>
        <pc:cxnChg chg="mod">
          <ac:chgData name="Bedel, Yanick Noah" userId="c0f86fc0-9b55-4d74-958a-ff514487524f" providerId="ADAL" clId="{5DCB94AE-F125-4388-AAC2-90396541D5B7}" dt="2025-07-09T15:40:18.608" v="9816" actId="164"/>
          <ac:cxnSpMkLst>
            <pc:docMk/>
            <pc:sldMk cId="3413914380" sldId="895"/>
            <ac:cxnSpMk id="26" creationId="{B40762CC-BD0E-BC70-3182-EC9EEF6A6CC6}"/>
          </ac:cxnSpMkLst>
        </pc:cxnChg>
        <pc:cxnChg chg="del">
          <ac:chgData name="Bedel, Yanick Noah" userId="c0f86fc0-9b55-4d74-958a-ff514487524f" providerId="ADAL" clId="{5DCB94AE-F125-4388-AAC2-90396541D5B7}" dt="2025-07-09T15:39:22.635" v="9735" actId="478"/>
          <ac:cxnSpMkLst>
            <pc:docMk/>
            <pc:sldMk cId="3413914380" sldId="895"/>
            <ac:cxnSpMk id="28" creationId="{4D4B0D57-F4D8-6294-8579-E7F3B1B3AA33}"/>
          </ac:cxnSpMkLst>
        </pc:cxnChg>
        <pc:cxnChg chg="mod topLvl">
          <ac:chgData name="Bedel, Yanick Noah" userId="c0f86fc0-9b55-4d74-958a-ff514487524f" providerId="ADAL" clId="{5DCB94AE-F125-4388-AAC2-90396541D5B7}" dt="2025-07-09T15:59:43.375" v="10481" actId="14100"/>
          <ac:cxnSpMkLst>
            <pc:docMk/>
            <pc:sldMk cId="3413914380" sldId="895"/>
            <ac:cxnSpMk id="42" creationId="{6E7FCDD6-A32B-3AEF-D3A1-02783EA3A251}"/>
          </ac:cxnSpMkLst>
        </pc:cxnChg>
        <pc:cxnChg chg="mod topLvl">
          <ac:chgData name="Bedel, Yanick Noah" userId="c0f86fc0-9b55-4d74-958a-ff514487524f" providerId="ADAL" clId="{5DCB94AE-F125-4388-AAC2-90396541D5B7}" dt="2025-07-09T15:59:49.659" v="10482" actId="14100"/>
          <ac:cxnSpMkLst>
            <pc:docMk/>
            <pc:sldMk cId="3413914380" sldId="895"/>
            <ac:cxnSpMk id="43" creationId="{99486BC2-B03E-FC7C-5DD5-387192391282}"/>
          </ac:cxnSpMkLst>
        </pc:cxnChg>
      </pc:sldChg>
      <pc:sldChg chg="delSp add mod ord modShow">
        <pc:chgData name="Bedel, Yanick Noah" userId="c0f86fc0-9b55-4d74-958a-ff514487524f" providerId="ADAL" clId="{5DCB94AE-F125-4388-AAC2-90396541D5B7}" dt="2025-07-09T16:32:02.230" v="12686" actId="729"/>
        <pc:sldMkLst>
          <pc:docMk/>
          <pc:sldMk cId="2652688665" sldId="896"/>
        </pc:sldMkLst>
        <pc:spChg chg="del">
          <ac:chgData name="Bedel, Yanick Noah" userId="c0f86fc0-9b55-4d74-958a-ff514487524f" providerId="ADAL" clId="{5DCB94AE-F125-4388-AAC2-90396541D5B7}" dt="2025-07-09T16:31:32.546" v="12679" actId="478"/>
          <ac:spMkLst>
            <pc:docMk/>
            <pc:sldMk cId="2652688665" sldId="896"/>
            <ac:spMk id="9" creationId="{A4808284-F973-A45C-7B7E-FBE456A196E9}"/>
          </ac:spMkLst>
        </pc:spChg>
        <pc:spChg chg="del">
          <ac:chgData name="Bedel, Yanick Noah" userId="c0f86fc0-9b55-4d74-958a-ff514487524f" providerId="ADAL" clId="{5DCB94AE-F125-4388-AAC2-90396541D5B7}" dt="2025-07-09T16:31:31.802" v="12678" actId="478"/>
          <ac:spMkLst>
            <pc:docMk/>
            <pc:sldMk cId="2652688665" sldId="896"/>
            <ac:spMk id="26" creationId="{1B0F3AA0-3D93-0529-787C-8CB58C63C5BA}"/>
          </ac:spMkLst>
        </pc:spChg>
        <pc:spChg chg="del">
          <ac:chgData name="Bedel, Yanick Noah" userId="c0f86fc0-9b55-4d74-958a-ff514487524f" providerId="ADAL" clId="{5DCB94AE-F125-4388-AAC2-90396541D5B7}" dt="2025-07-09T16:31:34.120" v="12680" actId="478"/>
          <ac:spMkLst>
            <pc:docMk/>
            <pc:sldMk cId="2652688665" sldId="896"/>
            <ac:spMk id="27" creationId="{B25CDFDF-74A8-3D33-9984-3241A063E90D}"/>
          </ac:spMkLst>
        </pc:spChg>
        <pc:spChg chg="del">
          <ac:chgData name="Bedel, Yanick Noah" userId="c0f86fc0-9b55-4d74-958a-ff514487524f" providerId="ADAL" clId="{5DCB94AE-F125-4388-AAC2-90396541D5B7}" dt="2025-07-09T16:31:30.192" v="12677" actId="478"/>
          <ac:spMkLst>
            <pc:docMk/>
            <pc:sldMk cId="2652688665" sldId="896"/>
            <ac:spMk id="31" creationId="{88C021E8-1335-F5E2-257F-D7DD6B61308F}"/>
          </ac:spMkLst>
        </pc:spChg>
        <pc:grpChg chg="del">
          <ac:chgData name="Bedel, Yanick Noah" userId="c0f86fc0-9b55-4d74-958a-ff514487524f" providerId="ADAL" clId="{5DCB94AE-F125-4388-AAC2-90396541D5B7}" dt="2025-07-09T16:31:34.843" v="12681" actId="478"/>
          <ac:grpSpMkLst>
            <pc:docMk/>
            <pc:sldMk cId="2652688665" sldId="896"/>
            <ac:grpSpMk id="46" creationId="{8F615DB9-00E8-0B0B-1852-BF23D30F17AC}"/>
          </ac:grpSpMkLst>
        </pc:grpChg>
        <pc:grpChg chg="del">
          <ac:chgData name="Bedel, Yanick Noah" userId="c0f86fc0-9b55-4d74-958a-ff514487524f" providerId="ADAL" clId="{5DCB94AE-F125-4388-AAC2-90396541D5B7}" dt="2025-07-09T16:31:35.675" v="12682" actId="478"/>
          <ac:grpSpMkLst>
            <pc:docMk/>
            <pc:sldMk cId="2652688665" sldId="896"/>
            <ac:grpSpMk id="64" creationId="{E93DF3E1-FCCA-1E94-594C-98DA1BCE02F5}"/>
          </ac:grpSpMkLst>
        </pc:grpChg>
      </pc:sldChg>
      <pc:sldMasterChg chg="addSp modSp mod">
        <pc:chgData name="Bedel, Yanick Noah" userId="c0f86fc0-9b55-4d74-958a-ff514487524f" providerId="ADAL" clId="{5DCB94AE-F125-4388-AAC2-90396541D5B7}" dt="2025-07-08T11:42:30.105" v="32" actId="1076"/>
        <pc:sldMasterMkLst>
          <pc:docMk/>
          <pc:sldMasterMk cId="2684128550" sldId="2147483648"/>
        </pc:sldMasterMkLst>
        <pc:spChg chg="add mod">
          <ac:chgData name="Bedel, Yanick Noah" userId="c0f86fc0-9b55-4d74-958a-ff514487524f" providerId="ADAL" clId="{5DCB94AE-F125-4388-AAC2-90396541D5B7}" dt="2025-07-08T11:42:30.105" v="32" actId="1076"/>
          <ac:spMkLst>
            <pc:docMk/>
            <pc:sldMasterMk cId="2684128550" sldId="2147483648"/>
            <ac:spMk id="9" creationId="{31488B36-87CF-BCA6-4A90-A09FEA80137C}"/>
          </ac:spMkLst>
        </pc:spChg>
        <pc:spChg chg="add mod">
          <ac:chgData name="Bedel, Yanick Noah" userId="c0f86fc0-9b55-4d74-958a-ff514487524f" providerId="ADAL" clId="{5DCB94AE-F125-4388-AAC2-90396541D5B7}" dt="2025-07-08T11:42:30.105" v="32" actId="1076"/>
          <ac:spMkLst>
            <pc:docMk/>
            <pc:sldMasterMk cId="2684128550" sldId="2147483648"/>
            <ac:spMk id="11" creationId="{8D4EFB63-7D64-2B87-7299-14DDD84A69D7}"/>
          </ac:spMkLst>
        </pc:spChg>
        <pc:spChg chg="add mod">
          <ac:chgData name="Bedel, Yanick Noah" userId="c0f86fc0-9b55-4d74-958a-ff514487524f" providerId="ADAL" clId="{5DCB94AE-F125-4388-AAC2-90396541D5B7}" dt="2025-07-08T11:42:30.105" v="32" actId="1076"/>
          <ac:spMkLst>
            <pc:docMk/>
            <pc:sldMasterMk cId="2684128550" sldId="2147483648"/>
            <ac:spMk id="12" creationId="{540FCB6C-F149-E95D-2F7F-62EBD3012270}"/>
          </ac:spMkLst>
        </pc:spChg>
        <pc:spChg chg="add mod">
          <ac:chgData name="Bedel, Yanick Noah" userId="c0f86fc0-9b55-4d74-958a-ff514487524f" providerId="ADAL" clId="{5DCB94AE-F125-4388-AAC2-90396541D5B7}" dt="2025-07-08T11:42:30.105" v="32" actId="1076"/>
          <ac:spMkLst>
            <pc:docMk/>
            <pc:sldMasterMk cId="2684128550" sldId="2147483648"/>
            <ac:spMk id="13" creationId="{80F186DE-5410-A07A-E8D9-CA42C456C710}"/>
          </ac:spMkLst>
        </pc:spChg>
      </pc:sldMasterChg>
      <pc:sldMasterChg chg="del delSldLayout">
        <pc:chgData name="Bedel, Yanick Noah" userId="c0f86fc0-9b55-4d74-958a-ff514487524f" providerId="ADAL" clId="{5DCB94AE-F125-4388-AAC2-90396541D5B7}" dt="2025-07-08T20:30:56.175" v="1792" actId="47"/>
        <pc:sldMasterMkLst>
          <pc:docMk/>
          <pc:sldMasterMk cId="471652767" sldId="2147483675"/>
        </pc:sldMasterMkLst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559546881" sldId="2147483676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446957923" sldId="2147483677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513940463" sldId="2147483678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757784735" sldId="2147483679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392091915" sldId="2147483680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3884033484" sldId="2147483681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3762206867" sldId="2147483682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723000355" sldId="2147483683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406255615" sldId="2147483684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782172730" sldId="2147483685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575076185" sldId="2147483686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4264499731" sldId="2147483687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645663646" sldId="2147483688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4136101570" sldId="2147483689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421348661" sldId="2147483690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99928017" sldId="2147483691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733925181" sldId="2147483692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805163916" sldId="2147483693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910142479" sldId="2147483694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563950120" sldId="2147483695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911721841" sldId="2147483696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575209118" sldId="2147483697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2723064008" sldId="2147483698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881522980" sldId="2147483699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3684614114" sldId="2147483700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1811772375" sldId="2147483701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343798486" sldId="2147483702"/>
          </pc:sldLayoutMkLst>
        </pc:sldLayoutChg>
        <pc:sldLayoutChg chg="del">
          <pc:chgData name="Bedel, Yanick Noah" userId="c0f86fc0-9b55-4d74-958a-ff514487524f" providerId="ADAL" clId="{5DCB94AE-F125-4388-AAC2-90396541D5B7}" dt="2025-07-08T20:30:56.175" v="1792" actId="47"/>
          <pc:sldLayoutMkLst>
            <pc:docMk/>
            <pc:sldMasterMk cId="471652767" sldId="2147483675"/>
            <pc:sldLayoutMk cId="3897862561" sldId="2147483703"/>
          </pc:sldLayoutMkLst>
        </pc:sldLayoutChg>
      </pc:sldMasterChg>
      <pc:sldMasterChg chg="del delSldLayout">
        <pc:chgData name="Bedel, Yanick Noah" userId="c0f86fc0-9b55-4d74-958a-ff514487524f" providerId="ADAL" clId="{5DCB94AE-F125-4388-AAC2-90396541D5B7}" dt="2025-07-08T22:15:09.205" v="4841" actId="47"/>
        <pc:sldMasterMkLst>
          <pc:docMk/>
          <pc:sldMasterMk cId="1090846962" sldId="2147483675"/>
        </pc:sldMasterMkLst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781338064" sldId="2147483676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3918403089" sldId="2147483677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1921423351" sldId="2147483678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654341922" sldId="2147483679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2365747260" sldId="2147483680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1151871557" sldId="2147483681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1232527037" sldId="2147483682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291844101" sldId="2147483683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1453247635" sldId="2147483684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3692909540" sldId="2147483685"/>
          </pc:sldLayoutMkLst>
        </pc:sldLayoutChg>
        <pc:sldLayoutChg chg="del">
          <pc:chgData name="Bedel, Yanick Noah" userId="c0f86fc0-9b55-4d74-958a-ff514487524f" providerId="ADAL" clId="{5DCB94AE-F125-4388-AAC2-90396541D5B7}" dt="2025-07-08T22:15:09.205" v="4841" actId="47"/>
          <pc:sldLayoutMkLst>
            <pc:docMk/>
            <pc:sldMasterMk cId="1090846962" sldId="2147483675"/>
            <pc:sldLayoutMk cId="197543626" sldId="2147483686"/>
          </pc:sldLayoutMkLst>
        </pc:sldLayoutChg>
      </pc:sldMasterChg>
      <pc:sldMasterChg chg="del delSldLayout">
        <pc:chgData name="Bedel, Yanick Noah" userId="c0f86fc0-9b55-4d74-958a-ff514487524f" providerId="ADAL" clId="{5DCB94AE-F125-4388-AAC2-90396541D5B7}" dt="2025-07-09T08:13:55.207" v="5943" actId="47"/>
        <pc:sldMasterMkLst>
          <pc:docMk/>
          <pc:sldMasterMk cId="3471877388" sldId="2147483675"/>
        </pc:sldMasterMkLst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941514818" sldId="2147483676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040354444" sldId="2147483677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4048853225" sldId="2147483678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954251401" sldId="2147483679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992443393" sldId="2147483680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816551430" sldId="2147483681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913865878" sldId="2147483682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589037785" sldId="2147483683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032879915" sldId="2147483684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681279008" sldId="2147483685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805612793" sldId="2147483686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346431009" sldId="2147483687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097680359" sldId="2147483688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000191968" sldId="2147483689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67622911" sldId="2147483690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694196055" sldId="2147483691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034364901" sldId="2147483692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237441829" sldId="2147483693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027285518" sldId="2147483694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555099361" sldId="2147483695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542352932" sldId="2147483696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801351926" sldId="2147483697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852043791" sldId="2147483698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789110021" sldId="2147483699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1738117425" sldId="2147483700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2021427083" sldId="2147483701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3770828875" sldId="2147483702"/>
          </pc:sldLayoutMkLst>
        </pc:sldLayoutChg>
        <pc:sldLayoutChg chg="del">
          <pc:chgData name="Bedel, Yanick Noah" userId="c0f86fc0-9b55-4d74-958a-ff514487524f" providerId="ADAL" clId="{5DCB94AE-F125-4388-AAC2-90396541D5B7}" dt="2025-07-09T08:13:55.207" v="5943" actId="47"/>
          <pc:sldLayoutMkLst>
            <pc:docMk/>
            <pc:sldMasterMk cId="3471877388" sldId="2147483675"/>
            <pc:sldLayoutMk cId="919177696" sldId="2147483703"/>
          </pc:sldLayoutMkLst>
        </pc:sldLayoutChg>
      </pc:sldMasterChg>
      <pc:sldMasterChg chg="del delSldLayout">
        <pc:chgData name="Bedel, Yanick Noah" userId="c0f86fc0-9b55-4d74-958a-ff514487524f" providerId="ADAL" clId="{5DCB94AE-F125-4388-AAC2-90396541D5B7}" dt="2025-07-08T21:34:48.981" v="3919" actId="47"/>
        <pc:sldMasterMkLst>
          <pc:docMk/>
          <pc:sldMasterMk cId="3688787655" sldId="2147483675"/>
        </pc:sldMasterMkLst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998840123" sldId="2147483676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732419877" sldId="2147483677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4113947482" sldId="2147483678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880820935" sldId="2147483679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4075321340" sldId="2147483680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565347881" sldId="2147483681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960264703" sldId="2147483682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422525721" sldId="2147483683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522627393" sldId="2147483684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423109064" sldId="2147483685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113018734" sldId="2147483686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306484429" sldId="2147483687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169735038" sldId="2147483688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486900911" sldId="2147483689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621560779" sldId="2147483690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134014438" sldId="2147483691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10042806" sldId="2147483692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582345238" sldId="2147483693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30124084" sldId="2147483694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096143182" sldId="2147483695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856259690" sldId="2147483696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324272616" sldId="2147483697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501558707" sldId="2147483698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450522986" sldId="2147483699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794615020" sldId="2147483700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3257324516" sldId="2147483701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2801182810" sldId="2147483702"/>
          </pc:sldLayoutMkLst>
        </pc:sldLayoutChg>
        <pc:sldLayoutChg chg="del">
          <pc:chgData name="Bedel, Yanick Noah" userId="c0f86fc0-9b55-4d74-958a-ff514487524f" providerId="ADAL" clId="{5DCB94AE-F125-4388-AAC2-90396541D5B7}" dt="2025-07-08T21:34:48.981" v="3919" actId="47"/>
          <pc:sldLayoutMkLst>
            <pc:docMk/>
            <pc:sldMasterMk cId="3688787655" sldId="2147483675"/>
            <pc:sldLayoutMk cId="1176805911" sldId="214748370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7F2A7-71BC-4516-8D6E-E8D945388D91}" type="datetimeFigureOut">
              <a:rPr lang="de-DE" smtClean="0"/>
              <a:t>10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BAFB8D-EA19-4220-8FC9-9E86961037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84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8B4E2-3B88-35B2-C800-DC1F9426E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BA9515-B0FF-3730-FA85-3818225F16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F80C12-82BC-43F6-A42F-C1C23E3329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FAC6-83F8-096F-919C-EB9997237A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002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1210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186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4619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937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Zwei Wochen Puffer eingeplant für Datenabruf</a:t>
            </a:r>
          </a:p>
          <a:p>
            <a:pPr marL="171450" indent="-171450">
              <a:buFontTx/>
              <a:buChar char="-"/>
            </a:pPr>
            <a:r>
              <a:rPr lang="de-DE" dirty="0"/>
              <a:t>Vier Phasen sind vom Projektstrukturplan (eher für Rückfrage)</a:t>
            </a:r>
          </a:p>
          <a:p>
            <a:pPr marL="171450" indent="-171450">
              <a:buFontTx/>
              <a:buChar char="-"/>
            </a:pPr>
            <a:r>
              <a:rPr lang="de-DE" dirty="0"/>
              <a:t>Abschließend: Es ist alles nach Zeitplan abgelaufen und die zwei Wochen Puffer haben wir auch benötig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824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Projektbezug: primär hat Carlo die Visualisierungen </a:t>
            </a:r>
            <a:r>
              <a:rPr lang="de-DE" dirty="0" err="1"/>
              <a:t>geamcht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Niklas API</a:t>
            </a:r>
          </a:p>
          <a:p>
            <a:pPr marL="171450" indent="-171450">
              <a:buFontTx/>
              <a:buChar char="-"/>
            </a:pPr>
            <a:r>
              <a:rPr lang="de-DE" dirty="0"/>
              <a:t>Yanick Präsentation</a:t>
            </a:r>
          </a:p>
          <a:p>
            <a:pPr marL="171450" indent="-171450">
              <a:buFontTx/>
              <a:buChar char="-"/>
            </a:pPr>
            <a:r>
              <a:rPr lang="de-DE" dirty="0"/>
              <a:t>Unten links: Carlo hat beim Datenabruf Probleme gehabt -&gt; hat dann einen Zwischenlösung gefunden, aber Niklas hat dann geholfen und bessere Idee gehabt</a:t>
            </a:r>
          </a:p>
          <a:p>
            <a:pPr marL="171450" indent="-171450">
              <a:buFontTx/>
              <a:buChar char="-"/>
            </a:pPr>
            <a:r>
              <a:rPr lang="de-DE" dirty="0"/>
              <a:t>Abschließend: alle verschiedenen Punkte haben funktioniert </a:t>
            </a:r>
          </a:p>
          <a:p>
            <a:pPr marL="171450" indent="-171450">
              <a:buFontTx/>
              <a:buChar char="-"/>
            </a:pPr>
            <a:r>
              <a:rPr lang="de-DE" dirty="0"/>
              <a:t>Probleme, die aufgetreten sind konnten wir gemeinsam als Gruppe lös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85832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Rückfrage an Stakeholder gehabt, haben dadurch festgestellt, Kommunikationsweg war für diese Art von Frage nicht korrekt. Die Idee der Entwickler wurde missverstanden -&gt; zu viel Spielraum für  Interpretationen</a:t>
            </a:r>
          </a:p>
          <a:p>
            <a:pPr marL="171450" indent="-171450">
              <a:buFontTx/>
              <a:buChar char="-"/>
            </a:pPr>
            <a:r>
              <a:rPr lang="de-DE" dirty="0"/>
              <a:t>Datenanalysen und Visualisierungen war das Problem, ohne Zwischenspeicherung der Ergebnisse mussten mehrmals berechnet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Es war sehr gut, dass wir die Projektrisiken davor betrachtet haben, Alternativen und Auswahlmöglichkeiten definiert haben, weil das für unser Datenabrufproblem gut war</a:t>
            </a:r>
          </a:p>
          <a:p>
            <a:pPr marL="171450" indent="-171450">
              <a:buFontTx/>
              <a:buChar char="-"/>
            </a:pPr>
            <a:r>
              <a:rPr lang="de-DE" dirty="0"/>
              <a:t>Trotzdem war es wichtig, dass wir weiter nach Alternativen gesucht haben und nicht nur unser vorher definierte Alternative verwendet hab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7275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8005C-499E-6583-E095-0D365BEA3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6D8146-CB18-DE31-9A98-84AF89559D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30F809-AADA-B0EB-2504-CC8AD0A6F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457461-718F-FFE9-A9BE-6DC4A0695E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3683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11C52-7FBE-CA5C-9D8A-9DC71D28A7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4096C-6005-1D98-1C99-6DE18AC69B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2B05A-7B11-2CD0-52F3-2A607AAAE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7246A-3DDC-72C2-1CF5-242C9D4E3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16D9F-62AA-3412-260E-73BEACD1D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0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E4F58-2457-8765-C1E4-335224053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D52E72-8DAD-F53A-15AA-F74D9FFFF4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39C530-BA88-CDAD-6921-EF37688CE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7FB8E-597E-32F0-B099-C7CCB7AF5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3915BC-4E6F-4A8B-A07F-BC2C09EEE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255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624FFF-BFB9-6AE1-4227-8494BB3089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B09BC-BD16-75FE-57B7-67F3B663EC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6FAE6-0507-F26A-30A0-786BD078A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C642B1-A2E8-C5F2-4EC2-21D53172D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DE23B-47D6-3F4B-8758-898026EBF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59297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EF4D6-34B1-4FAF-02D3-7A80BA988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BF86FA-4AA8-5816-12DD-0ECFFEAE84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48EE4A-B4C7-5641-2ADB-69729328C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E96-854E-40B8-E307-CEB2812B6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43FF5D-2D47-E7B7-4E37-8E433DDF2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514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15151-2F22-73F9-E39A-239CF6DF5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BA4F43-6E22-E966-14C8-8C7D0C18F9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93CB9E-A5FF-F654-E502-6D79F152A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BD8696-63B3-7378-1011-09D67B4F4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FB2AB3-EBFA-924B-5F7C-67E1F8472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162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EB1D0-0443-7D67-6E53-51ECBD866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60E7CC-1386-D205-976D-F99E658A2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23C4B-0720-A373-847B-B8E3EE671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097BF-0ACB-A4E2-6FBC-C37C6E780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4656F-BA58-D270-633A-7969762B2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793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FD16D-E0FD-848B-067C-BC21B61C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F5FFE0-0020-2167-AE0B-725E450A16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87718-7CC3-BC25-87E1-49E2FE5518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AA330D-F4FD-2052-CCCE-DF3E23893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3DAA06-B366-CDFC-E2F0-06ACCE3C7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F3369-E88E-26DA-C8D9-AAFA4A05A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9500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45B0A-4AA6-F387-FC9D-A26078558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FABE4-5F74-8B9D-8A2A-E36CB403A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A6EA45-4CD0-F57C-FFF0-6A122F2F2F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E2A96C-278C-B993-35D3-4BEAF4984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BDF9F7-9BD3-80D6-49FD-D76ECC1043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E70102-3D1C-9582-3F5E-01788A41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19F54-9BDD-7425-E534-C7500B343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D9945E-CE50-069A-CAD6-73312DDC7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6629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8410C-0A5F-8BA8-C117-AFE016ED4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B324F6-FB04-1325-123C-B234B9836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B1C0C8-FB98-8CA0-868F-53FFB3A94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1E732-FB99-D24C-5186-F5360809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5585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505E5D-DCA2-9084-4D8D-79F4DA9A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00A554-0C40-23A1-8DE3-056D42AED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10EFAA-BA80-7FE5-866A-2C242B12D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397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8644D-68BE-370B-FA70-4D83B4FD2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C3609-7AE4-C0EF-FC57-1A58952DD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BFE4D1-9963-66AD-A569-4BA01C20C6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F61977-7150-0139-587E-02B6D60BC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D6EF0E-D448-4D10-6FF7-B1BB80EAF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467FC-2E6C-99DF-C8EA-5507E447F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484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37B95-58C1-0092-88AE-9F42026BA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B54310-506C-058F-7D9A-F9DECD86F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69856-300F-79AF-2653-C5E9CB679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384023-AA65-D62E-104F-C87A18F7D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90232" y="6356350"/>
            <a:ext cx="5211536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ED32BE-9756-C9D1-C9E6-F25EFA2BD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778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9535E-4A28-0A4F-1B5A-4D6A2CD2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256CED-95DE-08A1-1AC8-E9C7C17FE6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200CA-0D30-A2CF-BE13-6CD6BCA585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3CD741-2F6C-2B78-C082-F5E2376F3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D33DAF-1768-A087-61B0-0445F649F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5ACED5-663D-E49C-961A-F77A3AA1B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685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FBF9A-C836-AA4A-3138-6EBE82F8F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96B04A-A69B-ED14-6B6B-F28B3F0BD1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CE2915-B867-BC33-CBD9-62DB080E9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6E0D5-7702-094F-D946-CF8EC3FB9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3ECE5-3162-2431-5793-351591C67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266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C294BD-EEC5-80D2-D521-29E423476D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8D9E9C-9AC3-E46F-6551-A1F9F07693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543A2-3320-F454-5FE5-8ED634CD6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039E4E-3CFB-832D-814C-1E5CFB6A8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27D9C-5C9D-8B42-A998-FC4F8392D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01831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72166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1822BDD-E660-E51A-665B-6A4A9FF6DC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E923412B-7874-D618-C2FA-6E8B9F1956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3200401" cy="365125"/>
          </a:xfrm>
        </p:spPr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0558B72F-0C98-4963-E500-8222496DC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8329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3E114-150F-F569-7016-1D8CB4F13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6CDDC-ED61-C11E-2745-80C2CCD149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4DC58-3A28-7FE9-2756-6A3DF82FE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D1733D-DF76-C9FF-71BB-7BDCC0C85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9CC83-5822-95DB-1C09-64F295B3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738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D78E0-D5D0-E9E4-DC71-B928356B3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897518-E309-B75D-091B-0BF3DF38FC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22C398-BBE4-83CC-C4F5-0186580DC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6806A8-DD5B-1B50-DEC8-F2F3F9789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7C2D29-8F5D-1A78-BE31-CCF40F0C2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71282E-6B40-EB6C-CCB8-D861F289A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750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CB65E-0C50-27A4-EED6-11C76EFE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BCBB1-7021-54B3-D1A5-4742E8C92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F3C233-06A6-4B67-AA4C-4E6F92E2D9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56103D-02C9-A368-06CF-65BE97ABBB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47DB28-B8F1-5DC2-BC84-4EE864A198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2C773B-5DE9-5B07-A78B-077A717C8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C2AD15-6B20-174A-3FC4-0FCA2C69E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AE5349-9910-7CE8-2565-3DC7411FB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435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A513B-8634-9564-12B7-09A8AD9D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13F59-4CE7-9EB6-C064-9FD9585D1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9FE2A-1C88-E7EE-16B4-EF7CF3CBF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4FFAF4-9A79-BE25-D271-EDEA7C695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3796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3A8D56-6209-A554-F243-0294FA2DF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DC15C-F87A-FDBF-9327-4ACCBE808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22F02-D792-9181-0537-33CD9435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830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CAE7E-EAAD-0121-203B-8F9E4341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BEF0A-7FE8-DC73-81F4-AF8F7A232C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6B88EE-B04A-5B46-5C45-966B98B4B4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421E3-C46A-59BD-56FF-31C344086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2D653B-88C9-460A-F38B-CE0B29004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49F927-7B94-B81B-F4F0-72183D68E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899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3B7F5-7D20-EAF9-C287-CA5F59F71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F99566-7401-929A-6B63-8B95266017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6205D3-534C-6459-BDAD-9D1ACE538F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C29E50-23F8-9C27-D504-F884B61E0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9EF6B9-F595-2405-333D-2372B031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635F31-31B2-E176-C06A-CE2C932E4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8675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C9192B-2FB6-136B-9D45-F0A2814AD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1D4C63-0A94-DB12-78A5-BD1FF2E5F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36285-B3A7-52CB-0CD8-AE7A8CE6C4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1A2C37-C622-A1A9-DAD2-7D1AC4985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32922-5E28-DA6A-72E5-63B795466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1505C0-6AF2-EAD6-9E9B-64FEC2E214FE}"/>
              </a:ext>
            </a:extLst>
          </p:cNvPr>
          <p:cNvSpPr/>
          <p:nvPr userDrawn="1"/>
        </p:nvSpPr>
        <p:spPr>
          <a:xfrm>
            <a:off x="12572022" y="15943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BD88645-7CC2-85A4-89FE-ECEB43645671}"/>
              </a:ext>
            </a:extLst>
          </p:cNvPr>
          <p:cNvSpPr/>
          <p:nvPr userDrawn="1"/>
        </p:nvSpPr>
        <p:spPr>
          <a:xfrm>
            <a:off x="12572022" y="26565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2E2D653-5222-4434-14EB-F4D3C867532B}"/>
              </a:ext>
            </a:extLst>
          </p:cNvPr>
          <p:cNvCxnSpPr>
            <a:cxnSpLocks/>
          </p:cNvCxnSpPr>
          <p:nvPr userDrawn="1"/>
        </p:nvCxnSpPr>
        <p:spPr>
          <a:xfrm>
            <a:off x="838200" y="6343650"/>
            <a:ext cx="10515600" cy="0"/>
          </a:xfrm>
          <a:prstGeom prst="line">
            <a:avLst/>
          </a:prstGeom>
          <a:ln>
            <a:solidFill>
              <a:srgbClr val="FFC62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llipse 8">
            <a:extLst>
              <a:ext uri="{FF2B5EF4-FFF2-40B4-BE49-F238E27FC236}">
                <a16:creationId xmlns:a16="http://schemas.microsoft.com/office/drawing/2014/main" id="{31488B36-87CF-BCA6-4A90-A09FEA80137C}"/>
              </a:ext>
            </a:extLst>
          </p:cNvPr>
          <p:cNvSpPr>
            <a:spLocks noChangeAspect="1"/>
          </p:cNvSpPr>
          <p:nvPr userDrawn="1"/>
        </p:nvSpPr>
        <p:spPr>
          <a:xfrm>
            <a:off x="12586434" y="5068826"/>
            <a:ext cx="450000" cy="450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8D4EFB63-7D64-2B87-7299-14DDD84A69D7}"/>
              </a:ext>
            </a:extLst>
          </p:cNvPr>
          <p:cNvSpPr>
            <a:spLocks noChangeAspect="1"/>
          </p:cNvSpPr>
          <p:nvPr userDrawn="1"/>
        </p:nvSpPr>
        <p:spPr>
          <a:xfrm>
            <a:off x="12572022" y="3718826"/>
            <a:ext cx="450000" cy="450000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540FCB6C-F149-E95D-2F7F-62EBD3012270}"/>
              </a:ext>
            </a:extLst>
          </p:cNvPr>
          <p:cNvSpPr>
            <a:spLocks noChangeAspect="1"/>
          </p:cNvSpPr>
          <p:nvPr userDrawn="1"/>
        </p:nvSpPr>
        <p:spPr>
          <a:xfrm>
            <a:off x="12586434" y="4168826"/>
            <a:ext cx="450000" cy="45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0F186DE-5410-A07A-E8D9-CA42C456C710}"/>
              </a:ext>
            </a:extLst>
          </p:cNvPr>
          <p:cNvSpPr>
            <a:spLocks noChangeAspect="1"/>
          </p:cNvSpPr>
          <p:nvPr userDrawn="1"/>
        </p:nvSpPr>
        <p:spPr>
          <a:xfrm>
            <a:off x="12586434" y="4618826"/>
            <a:ext cx="450000" cy="450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12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F59A00-20CE-8DC4-D55A-B43FE2AF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B80FC4-3386-AD41-20ED-8A170912C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3D6A6-09EF-7AA8-130C-5CB51A89C1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E7506-B7C5-A6B7-82FF-188EFB6838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758401-1BCA-9754-1726-3477C074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71BEE5-A398-8AB5-460A-4590D9F59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B0D484EA-2C4F-A1A2-D08B-8B2D15D28362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15CAEDB-780C-484C-8F6B-3550289EAD0E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Donnerstag, 10. Juli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7F8A8E15-9416-548A-D977-90A0320061F4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2E6C36-40AF-BF37-2785-0F6C9D4C4AE2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05AE120-CB94-354F-9577-14826162E889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46123CC-4546-3050-2C02-BA04B23B891C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69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4A8C7E-EE1B-9952-55EB-11DF1B8C3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16A641-13CF-6AAD-D9D9-6E94A2A0F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377B16-95B4-A557-5BA7-D2C65F7AE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1C3A3B-C8B6-246E-2D81-431A41AEA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9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1A4AD0EA-DD9A-F129-7873-783342F6E0D4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9FBE8BB-7FF6-0228-29F6-06C08EBE3A9F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1ACC8D38-D598-C9AB-B6A5-3F458E18A437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7F542B90-07B5-EA18-23C3-34F010C2FA5F}"/>
              </a:ext>
            </a:extLst>
          </p:cNvPr>
          <p:cNvSpPr/>
          <p:nvPr/>
        </p:nvSpPr>
        <p:spPr>
          <a:xfrm>
            <a:off x="1025750" y="260951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8B5FC49-100A-E56B-9977-CAAF5B021915}"/>
              </a:ext>
            </a:extLst>
          </p:cNvPr>
          <p:cNvSpPr/>
          <p:nvPr/>
        </p:nvSpPr>
        <p:spPr>
          <a:xfrm>
            <a:off x="1025750" y="299446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9D4E36B3-9774-9EED-4AB6-F9D60774EEBE}"/>
              </a:ext>
            </a:extLst>
          </p:cNvPr>
          <p:cNvSpPr/>
          <p:nvPr/>
        </p:nvSpPr>
        <p:spPr>
          <a:xfrm>
            <a:off x="1025750" y="3379414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F3AEB8F2-12F0-ECAD-92EE-15D7482781BA}"/>
              </a:ext>
            </a:extLst>
          </p:cNvPr>
          <p:cNvSpPr/>
          <p:nvPr/>
        </p:nvSpPr>
        <p:spPr>
          <a:xfrm>
            <a:off x="1025750" y="3764365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1F0153E3-B07D-CAA7-11EB-296149D48D59}"/>
              </a:ext>
            </a:extLst>
          </p:cNvPr>
          <p:cNvSpPr/>
          <p:nvPr/>
        </p:nvSpPr>
        <p:spPr>
          <a:xfrm>
            <a:off x="1025750" y="4149317"/>
            <a:ext cx="540000" cy="1194073"/>
          </a:xfrm>
          <a:prstGeom prst="roundRect">
            <a:avLst>
              <a:gd name="adj" fmla="val 10247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7A531819-0DCA-782D-8FCC-8A6B337586FF}"/>
              </a:ext>
            </a:extLst>
          </p:cNvPr>
          <p:cNvSpPr/>
          <p:nvPr/>
        </p:nvSpPr>
        <p:spPr>
          <a:xfrm>
            <a:off x="1025750" y="222456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3FE1DF20-8FCF-1605-AB40-D54D414FABF2}"/>
              </a:ext>
            </a:extLst>
          </p:cNvPr>
          <p:cNvSpPr/>
          <p:nvPr/>
        </p:nvSpPr>
        <p:spPr>
          <a:xfrm>
            <a:off x="1612529" y="4149317"/>
            <a:ext cx="2597187" cy="1194073"/>
          </a:xfrm>
          <a:prstGeom prst="roundRect">
            <a:avLst>
              <a:gd name="adj" fmla="val 5001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aper verzeichnen größere Forschungserfolge, wenn sie nicht nur von Forschungsinstitutionen, sondern in Kooperation mit Wirtschaftsunternehmen erarbeitet we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B56FCE42-56BB-8532-3475-6EB71247383F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036EAC0-243C-A0C8-080A-2E172AB1B957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892F189-8CC6-2DE0-3B3F-6E66A6ED7BB2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093A08C5-1605-EB31-E8B0-C89F67F2E3B4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7617EF7-CA4E-3A26-9895-00A47DF690D4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DC96612-8891-DB9B-684B-86F35ADDC8F7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0F2F8F4D-42C5-DE4F-4636-B4EE8C8AD02C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9" name="Freeform 26">
                <a:extLst>
                  <a:ext uri="{FF2B5EF4-FFF2-40B4-BE49-F238E27FC236}">
                    <a16:creationId xmlns:a16="http://schemas.microsoft.com/office/drawing/2014/main" id="{75344FF3-11B0-967B-1DD2-D0CA51A388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ind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orschungsprojekt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elch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emeinsam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dutrieunternehm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urchgeführt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erd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flussreich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aly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Art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teiligt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fü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jedes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Paper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rupp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Pap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ra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dustrie-unternehm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ohne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ammel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WCI-Scores der Paper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ener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ichtevertei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WCI-Scores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 Violin-Chart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20" name="Group 23">
                <a:extLst>
                  <a:ext uri="{FF2B5EF4-FFF2-40B4-BE49-F238E27FC236}">
                    <a16:creationId xmlns:a16="http://schemas.microsoft.com/office/drawing/2014/main" id="{39137CE4-65E8-0440-682D-8264780460CD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38" name="Oval 24">
                  <a:extLst>
                    <a:ext uri="{FF2B5EF4-FFF2-40B4-BE49-F238E27FC236}">
                      <a16:creationId xmlns:a16="http://schemas.microsoft.com/office/drawing/2014/main" id="{84A8E037-9872-C884-6036-97F5873F5F65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Arc 25">
                  <a:extLst>
                    <a:ext uri="{FF2B5EF4-FFF2-40B4-BE49-F238E27FC236}">
                      <a16:creationId xmlns:a16="http://schemas.microsoft.com/office/drawing/2014/main" id="{BBBD507B-3EE1-D85A-1D95-59321886DC5F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ED6F4B93-64CA-8131-6B16-816D0E85E01A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E808FD79-9B6F-4E28-183A-0333E8CEA6B9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5064BB4D-66F1-287B-CC84-77B51F88B562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CB6540AF-6E58-DF06-1328-0E5BEF0386E1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835D9AFE-5F10-35E5-09A8-696E8D6C4F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44D0B235-9F7B-2C76-A647-0E91038E9B60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51" name="Rechteck: abgerundete Ecken 50">
              <a:extLst>
                <a:ext uri="{FF2B5EF4-FFF2-40B4-BE49-F238E27FC236}">
                  <a16:creationId xmlns:a16="http://schemas.microsoft.com/office/drawing/2014/main" id="{F3803476-70BC-2EA5-87C7-1351CF6B264D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12F90375-3DCC-CF13-11BA-3BCA9C59A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638154" y="1998256"/>
              <a:ext cx="5910425" cy="39230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0949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0.00023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1D222-4162-2976-D6E2-33C4A56904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144FCC-4D33-F249-7A70-8823ABF59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147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de-DE" cap="small" dirty="0"/>
              <a:t>Darstellung und Bearbeitung der Multimedia-</a:t>
            </a:r>
            <a:br>
              <a:rPr lang="de-DE" cap="small" dirty="0"/>
            </a:br>
            <a:r>
              <a:rPr lang="de-DE" cap="small" dirty="0"/>
              <a:t>Präsent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566D28-886F-FD3B-2F8A-082688BFD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08ED6-EC18-0C67-3456-2A4A11D04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18BFDA-A999-22BD-F8FA-D154D7DCC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0</a:t>
            </a:r>
          </a:p>
        </p:txBody>
      </p:sp>
      <p:sp>
        <p:nvSpPr>
          <p:cNvPr id="3" name="Rectangle 55">
            <a:extLst>
              <a:ext uri="{FF2B5EF4-FFF2-40B4-BE49-F238E27FC236}">
                <a16:creationId xmlns:a16="http://schemas.microsoft.com/office/drawing/2014/main" id="{2FAA09FB-D964-49A3-C404-1162342B2782}"/>
              </a:ext>
            </a:extLst>
          </p:cNvPr>
          <p:cNvSpPr/>
          <p:nvPr/>
        </p:nvSpPr>
        <p:spPr>
          <a:xfrm>
            <a:off x="1800980" y="2481858"/>
            <a:ext cx="360986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mäßige Umsetzung der multimedialen Präsentation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u.a. lt. Pflichtenheft)</a:t>
            </a:r>
          </a:p>
        </p:txBody>
      </p:sp>
      <p:sp>
        <p:nvSpPr>
          <p:cNvPr id="7" name="TextBox 56">
            <a:extLst>
              <a:ext uri="{FF2B5EF4-FFF2-40B4-BE49-F238E27FC236}">
                <a16:creationId xmlns:a16="http://schemas.microsoft.com/office/drawing/2014/main" id="{5175CC55-7719-4F4D-3CCB-D9461A89F241}"/>
              </a:ext>
            </a:extLst>
          </p:cNvPr>
          <p:cNvSpPr txBox="1"/>
          <p:nvPr/>
        </p:nvSpPr>
        <p:spPr>
          <a:xfrm>
            <a:off x="1800979" y="3027349"/>
            <a:ext cx="3515465" cy="2385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buSzPct val="100000"/>
              <a:defRPr/>
            </a:pPr>
            <a:r>
              <a:rPr lang="en-US" altLang="en-US" sz="1400" b="1" dirty="0" err="1">
                <a:solidFill>
                  <a:srgbClr val="00257C"/>
                </a:solidFill>
                <a:latin typeface="Calibri"/>
                <a:cs typeface="Segoe UI" panose="020B0502040204020203" pitchFamily="34" charset="0"/>
              </a:rPr>
              <a:t>Kurzbeschreibung</a:t>
            </a:r>
            <a:r>
              <a:rPr lang="en-US" altLang="en-US" sz="1400" b="1" dirty="0">
                <a:solidFill>
                  <a:srgbClr val="00257C"/>
                </a:solidFill>
                <a:latin typeface="Calibri"/>
                <a:cs typeface="Segoe UI" panose="020B0502040204020203" pitchFamily="34" charset="0"/>
              </a:rPr>
              <a:t> der </a:t>
            </a:r>
            <a:r>
              <a:rPr lang="en-US" altLang="en-US" sz="1400" b="1" dirty="0" err="1">
                <a:solidFill>
                  <a:srgbClr val="00257C"/>
                </a:solidFill>
                <a:latin typeface="Calibri"/>
                <a:cs typeface="Segoe UI" panose="020B0502040204020203" pitchFamily="34" charset="0"/>
              </a:rPr>
              <a:t>planmäßigen</a:t>
            </a:r>
            <a:r>
              <a:rPr lang="en-US" altLang="en-US" sz="1400" b="1" dirty="0">
                <a:solidFill>
                  <a:srgbClr val="00257C"/>
                </a:solidFill>
                <a:latin typeface="Calibri"/>
                <a:cs typeface="Segoe UI" panose="020B0502040204020203" pitchFamily="34" charset="0"/>
              </a:rPr>
              <a:t> Multimedia-</a:t>
            </a:r>
            <a:r>
              <a:rPr lang="en-US" altLang="en-US" sz="1400" b="1" dirty="0" err="1">
                <a:solidFill>
                  <a:srgbClr val="00257C"/>
                </a:solidFill>
                <a:latin typeface="Calibri"/>
                <a:cs typeface="Segoe UI" panose="020B0502040204020203" pitchFamily="34" charset="0"/>
              </a:rPr>
              <a:t>Abgabe</a:t>
            </a:r>
            <a:endParaRPr lang="en-US" altLang="en-US" sz="1400" b="1" dirty="0">
              <a:solidFill>
                <a:srgbClr val="00257C"/>
              </a:solidFill>
              <a:latin typeface="Calibri"/>
              <a:cs typeface="Segoe UI" panose="020B0502040204020203" pitchFamily="34" charset="0"/>
            </a:endParaRPr>
          </a:p>
          <a:p>
            <a:pPr marL="171450" lvl="0" indent="-171450" eaLnBrk="0" fontAlgn="base" hangingPunct="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Informationsfilm, welcher die zentralen Erkenntnisse der Analysen darstellt</a:t>
            </a:r>
          </a:p>
          <a:p>
            <a:pPr marL="171450" lvl="0" indent="-171450" eaLnBrk="0" fontAlgn="base" hangingPunct="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Ableiten und Zusammenfassen von Ergebnissen der einzelnen Hypothesenbereiche</a:t>
            </a:r>
          </a:p>
          <a:p>
            <a:pPr marL="171450" indent="-171450" eaLnBrk="0" fontAlgn="base" hangingPunct="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Dynamische Einbindung der Diagramme in informationsfilmähnlichem Stil</a:t>
            </a:r>
          </a:p>
          <a:p>
            <a:pPr marL="171450" lvl="0" indent="-171450" eaLnBrk="0" fontAlgn="base" hangingPunct="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Voiceover erklärt die Szenarien, Gedanken, Herangehensweise und beobachtbaren Resultat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Freeform 59">
            <a:extLst>
              <a:ext uri="{FF2B5EF4-FFF2-40B4-BE49-F238E27FC236}">
                <a16:creationId xmlns:a16="http://schemas.microsoft.com/office/drawing/2014/main" id="{8633DAC6-02A3-431A-0346-31A612FACBCC}"/>
              </a:ext>
            </a:extLst>
          </p:cNvPr>
          <p:cNvSpPr>
            <a:spLocks/>
          </p:cNvSpPr>
          <p:nvPr/>
        </p:nvSpPr>
        <p:spPr bwMode="auto">
          <a:xfrm rot="20334630" flipH="1">
            <a:off x="910905" y="1888287"/>
            <a:ext cx="2052711" cy="775835"/>
          </a:xfrm>
          <a:custGeom>
            <a:avLst/>
            <a:gdLst>
              <a:gd name="connsiteX0" fmla="*/ 2889837 w 3557588"/>
              <a:gd name="connsiteY0" fmla="*/ 0 h 1344613"/>
              <a:gd name="connsiteX1" fmla="*/ 2807792 w 3557588"/>
              <a:gd name="connsiteY1" fmla="*/ 5011 h 1344613"/>
              <a:gd name="connsiteX2" fmla="*/ 2779811 w 3557588"/>
              <a:gd name="connsiteY2" fmla="*/ 10189 h 1344613"/>
              <a:gd name="connsiteX3" fmla="*/ 2751682 w 3557588"/>
              <a:gd name="connsiteY3" fmla="*/ 12017 h 1344613"/>
              <a:gd name="connsiteX4" fmla="*/ 2277031 w 3557588"/>
              <a:gd name="connsiteY4" fmla="*/ 316284 h 1344613"/>
              <a:gd name="connsiteX5" fmla="*/ 1905395 w 3557588"/>
              <a:gd name="connsiteY5" fmla="*/ 548953 h 1344613"/>
              <a:gd name="connsiteX6" fmla="*/ 1861105 w 3557588"/>
              <a:gd name="connsiteY6" fmla="*/ 556767 h 1344613"/>
              <a:gd name="connsiteX7" fmla="*/ 1797707 w 3557588"/>
              <a:gd name="connsiteY7" fmla="*/ 559961 h 1344613"/>
              <a:gd name="connsiteX8" fmla="*/ 1280557 w 3557588"/>
              <a:gd name="connsiteY8" fmla="*/ 309934 h 1344613"/>
              <a:gd name="connsiteX9" fmla="*/ 718693 w 3557588"/>
              <a:gd name="connsiteY9" fmla="*/ 0 h 1344613"/>
              <a:gd name="connsiteX10" fmla="*/ 717739 w 3557588"/>
              <a:gd name="connsiteY10" fmla="*/ 0 h 1344613"/>
              <a:gd name="connsiteX11" fmla="*/ 716785 w 3557588"/>
              <a:gd name="connsiteY11" fmla="*/ 0 h 1344613"/>
              <a:gd name="connsiteX12" fmla="*/ 677674 w 3557588"/>
              <a:gd name="connsiteY12" fmla="*/ 957 h 1344613"/>
              <a:gd name="connsiteX13" fmla="*/ 674812 w 3557588"/>
              <a:gd name="connsiteY13" fmla="*/ 1913 h 1344613"/>
              <a:gd name="connsiteX14" fmla="*/ 636655 w 3557588"/>
              <a:gd name="connsiteY14" fmla="*/ 4783 h 1344613"/>
              <a:gd name="connsiteX15" fmla="*/ 635701 w 3557588"/>
              <a:gd name="connsiteY15" fmla="*/ 4783 h 1344613"/>
              <a:gd name="connsiteX16" fmla="*/ 573890 w 3557588"/>
              <a:gd name="connsiteY16" fmla="*/ 15839 h 1344613"/>
              <a:gd name="connsiteX17" fmla="*/ 533340 w 3557588"/>
              <a:gd name="connsiteY17" fmla="*/ 19938 h 1344613"/>
              <a:gd name="connsiteX18" fmla="*/ 0 w 3557588"/>
              <a:gd name="connsiteY18" fmla="*/ 675960 h 1344613"/>
              <a:gd name="connsiteX19" fmla="*/ 667751 w 3557588"/>
              <a:gd name="connsiteY19" fmla="*/ 1344613 h 1344613"/>
              <a:gd name="connsiteX20" fmla="*/ 749126 w 3557588"/>
              <a:gd name="connsiteY20" fmla="*/ 1339688 h 1344613"/>
              <a:gd name="connsiteX21" fmla="*/ 766171 w 3557588"/>
              <a:gd name="connsiteY21" fmla="*/ 1336563 h 1344613"/>
              <a:gd name="connsiteX22" fmla="*/ 796915 w 3557588"/>
              <a:gd name="connsiteY22" fmla="*/ 1333480 h 1344613"/>
              <a:gd name="connsiteX23" fmla="*/ 797869 w 3557588"/>
              <a:gd name="connsiteY23" fmla="*/ 1333480 h 1344613"/>
              <a:gd name="connsiteX24" fmla="*/ 1257663 w 3557588"/>
              <a:gd name="connsiteY24" fmla="*/ 1062767 h 1344613"/>
              <a:gd name="connsiteX25" fmla="*/ 1613681 w 3557588"/>
              <a:gd name="connsiteY25" fmla="*/ 805243 h 1344613"/>
              <a:gd name="connsiteX26" fmla="*/ 1683778 w 3557588"/>
              <a:gd name="connsiteY26" fmla="*/ 787924 h 1344613"/>
              <a:gd name="connsiteX27" fmla="*/ 1714809 w 3557588"/>
              <a:gd name="connsiteY27" fmla="*/ 784054 h 1344613"/>
              <a:gd name="connsiteX28" fmla="*/ 2299925 w 3557588"/>
              <a:gd name="connsiteY28" fmla="*/ 1069117 h 1344613"/>
              <a:gd name="connsiteX29" fmla="*/ 2759719 w 3557588"/>
              <a:gd name="connsiteY29" fmla="*/ 1339830 h 1344613"/>
              <a:gd name="connsiteX30" fmla="*/ 2760673 w 3557588"/>
              <a:gd name="connsiteY30" fmla="*/ 1339830 h 1344613"/>
              <a:gd name="connsiteX31" fmla="*/ 2798831 w 3557588"/>
              <a:gd name="connsiteY31" fmla="*/ 1343657 h 1344613"/>
              <a:gd name="connsiteX32" fmla="*/ 2800738 w 3557588"/>
              <a:gd name="connsiteY32" fmla="*/ 1343657 h 1344613"/>
              <a:gd name="connsiteX33" fmla="*/ 2838896 w 3557588"/>
              <a:gd name="connsiteY33" fmla="*/ 1344613 h 1344613"/>
              <a:gd name="connsiteX34" fmla="*/ 2839850 w 3557588"/>
              <a:gd name="connsiteY34" fmla="*/ 1344613 h 1344613"/>
              <a:gd name="connsiteX35" fmla="*/ 2840803 w 3557588"/>
              <a:gd name="connsiteY35" fmla="*/ 1344613 h 1344613"/>
              <a:gd name="connsiteX36" fmla="*/ 2879915 w 3557588"/>
              <a:gd name="connsiteY36" fmla="*/ 1343657 h 1344613"/>
              <a:gd name="connsiteX37" fmla="*/ 2881822 w 3557588"/>
              <a:gd name="connsiteY37" fmla="*/ 1343657 h 1344613"/>
              <a:gd name="connsiteX38" fmla="*/ 2919980 w 3557588"/>
              <a:gd name="connsiteY38" fmla="*/ 1339830 h 1344613"/>
              <a:gd name="connsiteX39" fmla="*/ 2921887 w 3557588"/>
              <a:gd name="connsiteY39" fmla="*/ 1339830 h 1344613"/>
              <a:gd name="connsiteX40" fmla="*/ 2986964 w 3557588"/>
              <a:gd name="connsiteY40" fmla="*/ 1328445 h 1344613"/>
              <a:gd name="connsiteX41" fmla="*/ 3024248 w 3557588"/>
              <a:gd name="connsiteY41" fmla="*/ 1324677 h 1344613"/>
              <a:gd name="connsiteX42" fmla="*/ 3557588 w 3557588"/>
              <a:gd name="connsiteY42" fmla="*/ 669610 h 1344613"/>
              <a:gd name="connsiteX43" fmla="*/ 2889837 w 3557588"/>
              <a:gd name="connsiteY43" fmla="*/ 0 h 134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557588" h="1344613">
                <a:moveTo>
                  <a:pt x="2889837" y="0"/>
                </a:moveTo>
                <a:cubicBezTo>
                  <a:pt x="2862054" y="0"/>
                  <a:pt x="2834673" y="1704"/>
                  <a:pt x="2807792" y="5011"/>
                </a:cubicBezTo>
                <a:lnTo>
                  <a:pt x="2779811" y="10189"/>
                </a:lnTo>
                <a:lnTo>
                  <a:pt x="2751682" y="12017"/>
                </a:lnTo>
                <a:cubicBezTo>
                  <a:pt x="2551956" y="38186"/>
                  <a:pt x="2380532" y="153066"/>
                  <a:pt x="2277031" y="316284"/>
                </a:cubicBezTo>
                <a:cubicBezTo>
                  <a:pt x="2179730" y="435020"/>
                  <a:pt x="2048088" y="515553"/>
                  <a:pt x="1905395" y="548953"/>
                </a:cubicBezTo>
                <a:lnTo>
                  <a:pt x="1861105" y="556767"/>
                </a:lnTo>
                <a:lnTo>
                  <a:pt x="1797707" y="559961"/>
                </a:lnTo>
                <a:cubicBezTo>
                  <a:pt x="1601078" y="558646"/>
                  <a:pt x="1410292" y="468249"/>
                  <a:pt x="1280557" y="309934"/>
                </a:cubicBezTo>
                <a:cubicBezTo>
                  <a:pt x="1162270" y="123400"/>
                  <a:pt x="955267" y="0"/>
                  <a:pt x="718693" y="0"/>
                </a:cubicBezTo>
                <a:cubicBezTo>
                  <a:pt x="717739" y="0"/>
                  <a:pt x="717739" y="0"/>
                  <a:pt x="717739" y="0"/>
                </a:cubicBezTo>
                <a:cubicBezTo>
                  <a:pt x="717739" y="0"/>
                  <a:pt x="716785" y="0"/>
                  <a:pt x="716785" y="0"/>
                </a:cubicBezTo>
                <a:cubicBezTo>
                  <a:pt x="703430" y="0"/>
                  <a:pt x="691029" y="957"/>
                  <a:pt x="677674" y="957"/>
                </a:cubicBezTo>
                <a:cubicBezTo>
                  <a:pt x="676720" y="957"/>
                  <a:pt x="675766" y="957"/>
                  <a:pt x="674812" y="1913"/>
                </a:cubicBezTo>
                <a:cubicBezTo>
                  <a:pt x="662411" y="1913"/>
                  <a:pt x="650010" y="3826"/>
                  <a:pt x="636655" y="4783"/>
                </a:cubicBezTo>
                <a:cubicBezTo>
                  <a:pt x="636655" y="4783"/>
                  <a:pt x="635701" y="4783"/>
                  <a:pt x="635701" y="4783"/>
                </a:cubicBezTo>
                <a:lnTo>
                  <a:pt x="573890" y="15839"/>
                </a:lnTo>
                <a:lnTo>
                  <a:pt x="533340" y="19938"/>
                </a:lnTo>
                <a:cubicBezTo>
                  <a:pt x="229331" y="82309"/>
                  <a:pt x="0" y="352036"/>
                  <a:pt x="0" y="675960"/>
                </a:cubicBezTo>
                <a:cubicBezTo>
                  <a:pt x="0" y="1045202"/>
                  <a:pt x="299534" y="1344613"/>
                  <a:pt x="667751" y="1344613"/>
                </a:cubicBezTo>
                <a:cubicBezTo>
                  <a:pt x="695296" y="1344613"/>
                  <a:pt x="722453" y="1342939"/>
                  <a:pt x="749126" y="1339688"/>
                </a:cubicBezTo>
                <a:lnTo>
                  <a:pt x="766171" y="1336563"/>
                </a:lnTo>
                <a:lnTo>
                  <a:pt x="796915" y="1333480"/>
                </a:lnTo>
                <a:cubicBezTo>
                  <a:pt x="796915" y="1333480"/>
                  <a:pt x="797869" y="1333480"/>
                  <a:pt x="797869" y="1333480"/>
                </a:cubicBezTo>
                <a:cubicBezTo>
                  <a:pt x="986747" y="1311479"/>
                  <a:pt x="1151777" y="1210081"/>
                  <a:pt x="1257663" y="1062767"/>
                </a:cubicBezTo>
                <a:cubicBezTo>
                  <a:pt x="1363490" y="927948"/>
                  <a:pt x="1486830" y="845162"/>
                  <a:pt x="1613681" y="805243"/>
                </a:cubicBezTo>
                <a:lnTo>
                  <a:pt x="1683778" y="787924"/>
                </a:lnTo>
                <a:lnTo>
                  <a:pt x="1714809" y="784054"/>
                </a:lnTo>
                <a:cubicBezTo>
                  <a:pt x="1916445" y="770901"/>
                  <a:pt x="2130603" y="853407"/>
                  <a:pt x="2299925" y="1069117"/>
                </a:cubicBezTo>
                <a:cubicBezTo>
                  <a:pt x="2405811" y="1216431"/>
                  <a:pt x="2570841" y="1317829"/>
                  <a:pt x="2759719" y="1339830"/>
                </a:cubicBezTo>
                <a:cubicBezTo>
                  <a:pt x="2759719" y="1339830"/>
                  <a:pt x="2760673" y="1339830"/>
                  <a:pt x="2760673" y="1339830"/>
                </a:cubicBezTo>
                <a:cubicBezTo>
                  <a:pt x="2773074" y="1341743"/>
                  <a:pt x="2786429" y="1342700"/>
                  <a:pt x="2798831" y="1343657"/>
                </a:cubicBezTo>
                <a:cubicBezTo>
                  <a:pt x="2799784" y="1343657"/>
                  <a:pt x="2799784" y="1343657"/>
                  <a:pt x="2800738" y="1343657"/>
                </a:cubicBezTo>
                <a:cubicBezTo>
                  <a:pt x="2813139" y="1344613"/>
                  <a:pt x="2826495" y="1344613"/>
                  <a:pt x="2838896" y="1344613"/>
                </a:cubicBezTo>
                <a:cubicBezTo>
                  <a:pt x="2839850" y="1344613"/>
                  <a:pt x="2839850" y="1344613"/>
                  <a:pt x="2839850" y="1344613"/>
                </a:cubicBezTo>
                <a:cubicBezTo>
                  <a:pt x="2839850" y="1344613"/>
                  <a:pt x="2840803" y="1344613"/>
                  <a:pt x="2840803" y="1344613"/>
                </a:cubicBezTo>
                <a:cubicBezTo>
                  <a:pt x="2854158" y="1344613"/>
                  <a:pt x="2866560" y="1344613"/>
                  <a:pt x="2879915" y="1343657"/>
                </a:cubicBezTo>
                <a:cubicBezTo>
                  <a:pt x="2880868" y="1343657"/>
                  <a:pt x="2881822" y="1343657"/>
                  <a:pt x="2881822" y="1343657"/>
                </a:cubicBezTo>
                <a:cubicBezTo>
                  <a:pt x="2895177" y="1342700"/>
                  <a:pt x="2907579" y="1341743"/>
                  <a:pt x="2919980" y="1339830"/>
                </a:cubicBezTo>
                <a:cubicBezTo>
                  <a:pt x="2920934" y="1339830"/>
                  <a:pt x="2920934" y="1339830"/>
                  <a:pt x="2921887" y="1339830"/>
                </a:cubicBezTo>
                <a:lnTo>
                  <a:pt x="2986964" y="1328445"/>
                </a:lnTo>
                <a:lnTo>
                  <a:pt x="3024248" y="1324677"/>
                </a:lnTo>
                <a:cubicBezTo>
                  <a:pt x="3328257" y="1262319"/>
                  <a:pt x="3557588" y="992697"/>
                  <a:pt x="3557588" y="669610"/>
                </a:cubicBezTo>
                <a:cubicBezTo>
                  <a:pt x="3557588" y="299411"/>
                  <a:pt x="3258054" y="0"/>
                  <a:pt x="2889837" y="0"/>
                </a:cubicBezTo>
                <a:close/>
              </a:path>
            </a:pathLst>
          </a:custGeom>
          <a:solidFill>
            <a:srgbClr val="0025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61">
            <a:extLst>
              <a:ext uri="{FF2B5EF4-FFF2-40B4-BE49-F238E27FC236}">
                <a16:creationId xmlns:a16="http://schemas.microsoft.com/office/drawing/2014/main" id="{76C6C95F-B962-1E0D-2B04-0E74664B8A42}"/>
              </a:ext>
            </a:extLst>
          </p:cNvPr>
          <p:cNvSpPr txBox="1"/>
          <p:nvPr/>
        </p:nvSpPr>
        <p:spPr>
          <a:xfrm>
            <a:off x="2224499" y="1704895"/>
            <a:ext cx="582707" cy="68825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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rc 71">
            <a:extLst>
              <a:ext uri="{FF2B5EF4-FFF2-40B4-BE49-F238E27FC236}">
                <a16:creationId xmlns:a16="http://schemas.microsoft.com/office/drawing/2014/main" id="{88475D8F-8B5F-1C14-8DF8-9AAF30A59308}"/>
              </a:ext>
            </a:extLst>
          </p:cNvPr>
          <p:cNvSpPr/>
          <p:nvPr/>
        </p:nvSpPr>
        <p:spPr>
          <a:xfrm rot="6739027">
            <a:off x="1486119" y="1592213"/>
            <a:ext cx="617932" cy="608660"/>
          </a:xfrm>
          <a:prstGeom prst="arc">
            <a:avLst>
              <a:gd name="adj1" fmla="val 15382243"/>
              <a:gd name="adj2" fmla="val 1177101"/>
            </a:avLst>
          </a:prstGeom>
          <a:solidFill>
            <a:srgbClr val="00257C">
              <a:alpha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Straight Arrow Connector 73">
            <a:extLst>
              <a:ext uri="{FF2B5EF4-FFF2-40B4-BE49-F238E27FC236}">
                <a16:creationId xmlns:a16="http://schemas.microsoft.com/office/drawing/2014/main" id="{F028D561-15E6-11A1-55A7-B3C5B58D4349}"/>
              </a:ext>
            </a:extLst>
          </p:cNvPr>
          <p:cNvCxnSpPr>
            <a:cxnSpLocks/>
          </p:cNvCxnSpPr>
          <p:nvPr/>
        </p:nvCxnSpPr>
        <p:spPr>
          <a:xfrm>
            <a:off x="1639417" y="2471022"/>
            <a:ext cx="631" cy="3602830"/>
          </a:xfrm>
          <a:prstGeom prst="straightConnector1">
            <a:avLst/>
          </a:prstGeom>
          <a:noFill/>
          <a:ln w="9525" cap="flat" cmpd="sng" algn="ctr">
            <a:solidFill>
              <a:srgbClr val="00257C"/>
            </a:solidFill>
            <a:prstDash val="solid"/>
            <a:headEnd type="diamond" w="med" len="med"/>
            <a:tailEnd type="diamond" w="med" len="med"/>
          </a:ln>
          <a:effectLst/>
        </p:spPr>
      </p:cxnSp>
      <p:sp>
        <p:nvSpPr>
          <p:cNvPr id="12" name="TextBox 58">
            <a:extLst>
              <a:ext uri="{FF2B5EF4-FFF2-40B4-BE49-F238E27FC236}">
                <a16:creationId xmlns:a16="http://schemas.microsoft.com/office/drawing/2014/main" id="{EB69051F-46A4-F2A4-BE81-E9230B0A9BBD}"/>
              </a:ext>
            </a:extLst>
          </p:cNvPr>
          <p:cNvSpPr txBox="1"/>
          <p:nvPr/>
        </p:nvSpPr>
        <p:spPr>
          <a:xfrm>
            <a:off x="6378601" y="3027349"/>
            <a:ext cx="4867204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buSzPct val="100000"/>
              <a:defRPr/>
            </a:pPr>
            <a:r>
              <a:rPr lang="en-US" altLang="en-US" sz="1400" b="1" dirty="0" err="1">
                <a:solidFill>
                  <a:srgbClr val="FFC620"/>
                </a:solidFill>
                <a:latin typeface="Calibri"/>
                <a:cs typeface="Segoe UI" panose="020B0502040204020203" pitchFamily="34" charset="0"/>
              </a:rPr>
              <a:t>Kurzbeschreibung</a:t>
            </a:r>
            <a:r>
              <a:rPr lang="en-US" altLang="en-US" sz="1400" b="1" dirty="0">
                <a:solidFill>
                  <a:srgbClr val="FFC620"/>
                </a:solidFill>
                <a:latin typeface="Calibri"/>
                <a:cs typeface="Segoe UI" panose="020B0502040204020203" pitchFamily="34" charset="0"/>
              </a:rPr>
              <a:t> der </a:t>
            </a:r>
            <a:r>
              <a:rPr lang="en-US" altLang="en-US" sz="1400" b="1" dirty="0" err="1">
                <a:solidFill>
                  <a:srgbClr val="FFC620"/>
                </a:solidFill>
                <a:latin typeface="Calibri"/>
                <a:cs typeface="Segoe UI" panose="020B0502040204020203" pitchFamily="34" charset="0"/>
              </a:rPr>
              <a:t>tatsächlichen</a:t>
            </a:r>
            <a:r>
              <a:rPr lang="en-US" altLang="en-US" sz="1400" b="1" dirty="0">
                <a:solidFill>
                  <a:srgbClr val="FFC620"/>
                </a:solidFill>
                <a:latin typeface="Calibri"/>
                <a:cs typeface="Segoe UI" panose="020B0502040204020203" pitchFamily="34" charset="0"/>
              </a:rPr>
              <a:t> Multimedia-</a:t>
            </a:r>
            <a:r>
              <a:rPr lang="en-US" altLang="en-US" sz="1400" b="1" dirty="0" err="1">
                <a:solidFill>
                  <a:srgbClr val="FFC620"/>
                </a:solidFill>
                <a:latin typeface="Calibri"/>
                <a:cs typeface="Segoe UI" panose="020B0502040204020203" pitchFamily="34" charset="0"/>
              </a:rPr>
              <a:t>Abgabe</a:t>
            </a:r>
            <a:endParaRPr lang="en-US" altLang="en-US" sz="1400" b="1" dirty="0">
              <a:solidFill>
                <a:srgbClr val="FFC620"/>
              </a:solidFill>
              <a:latin typeface="Calibri"/>
              <a:cs typeface="Segoe UI" panose="020B0502040204020203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Interaktive Präsentation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im Stil einer Webseite mit Auswahlkriterien und Menü-</a:t>
            </a: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B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an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Freie und beliebige Navigation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durch die Hypothesenbereich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Kombinierte Darstellung der Projektergebnisse aus Text, Diagrammen und optional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abrufbarem Voiceover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Nicht sequentiell, linear durchführbar, wie bei einem Folienvortrag, sondern benutzergeführt und adaptiv nutzbar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400" b="1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G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ründe</a:t>
            </a:r>
            <a:r>
              <a:rPr kumimoji="0" lang="de-DE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für die abweichende Umsetzung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Nachteile einer Videoaufnahme konnten beseitigt werden, durch individuelles Tempo statt starrer Videolaufze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Nutzer können gezielt Inhalte ansteuern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und wiederhole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baseline="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Erhöhte</a:t>
            </a:r>
            <a:r>
              <a:rPr lang="de-DE" sz="12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 Zugänglichkeit und Barrierefreiheit durch kombinierte Text- und Audioformat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Verbesserte Informationsaufnahme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Segoe UI" panose="020B0502040204020203" pitchFamily="34" charset="0"/>
              </a:rPr>
              <a:t> durch klare Struktur und Interaktivitä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Segoe UI" panose="020B0502040204020203" pitchFamily="34" charset="0"/>
            </a:endParaRPr>
          </a:p>
        </p:txBody>
      </p:sp>
      <p:sp>
        <p:nvSpPr>
          <p:cNvPr id="13" name="Freeform 65">
            <a:extLst>
              <a:ext uri="{FF2B5EF4-FFF2-40B4-BE49-F238E27FC236}">
                <a16:creationId xmlns:a16="http://schemas.microsoft.com/office/drawing/2014/main" id="{7EF73242-6542-DBC7-D5A0-930420829F9E}"/>
              </a:ext>
            </a:extLst>
          </p:cNvPr>
          <p:cNvSpPr>
            <a:spLocks/>
          </p:cNvSpPr>
          <p:nvPr/>
        </p:nvSpPr>
        <p:spPr bwMode="auto">
          <a:xfrm rot="20334630" flipH="1">
            <a:off x="5470810" y="1897812"/>
            <a:ext cx="2052711" cy="775835"/>
          </a:xfrm>
          <a:custGeom>
            <a:avLst/>
            <a:gdLst>
              <a:gd name="connsiteX0" fmla="*/ 2889837 w 3557588"/>
              <a:gd name="connsiteY0" fmla="*/ 0 h 1344613"/>
              <a:gd name="connsiteX1" fmla="*/ 2807792 w 3557588"/>
              <a:gd name="connsiteY1" fmla="*/ 5011 h 1344613"/>
              <a:gd name="connsiteX2" fmla="*/ 2779811 w 3557588"/>
              <a:gd name="connsiteY2" fmla="*/ 10189 h 1344613"/>
              <a:gd name="connsiteX3" fmla="*/ 2751682 w 3557588"/>
              <a:gd name="connsiteY3" fmla="*/ 12017 h 1344613"/>
              <a:gd name="connsiteX4" fmla="*/ 2277031 w 3557588"/>
              <a:gd name="connsiteY4" fmla="*/ 316284 h 1344613"/>
              <a:gd name="connsiteX5" fmla="*/ 1905395 w 3557588"/>
              <a:gd name="connsiteY5" fmla="*/ 548953 h 1344613"/>
              <a:gd name="connsiteX6" fmla="*/ 1861105 w 3557588"/>
              <a:gd name="connsiteY6" fmla="*/ 556767 h 1344613"/>
              <a:gd name="connsiteX7" fmla="*/ 1797707 w 3557588"/>
              <a:gd name="connsiteY7" fmla="*/ 559961 h 1344613"/>
              <a:gd name="connsiteX8" fmla="*/ 1280557 w 3557588"/>
              <a:gd name="connsiteY8" fmla="*/ 309934 h 1344613"/>
              <a:gd name="connsiteX9" fmla="*/ 718693 w 3557588"/>
              <a:gd name="connsiteY9" fmla="*/ 0 h 1344613"/>
              <a:gd name="connsiteX10" fmla="*/ 717739 w 3557588"/>
              <a:gd name="connsiteY10" fmla="*/ 0 h 1344613"/>
              <a:gd name="connsiteX11" fmla="*/ 716785 w 3557588"/>
              <a:gd name="connsiteY11" fmla="*/ 0 h 1344613"/>
              <a:gd name="connsiteX12" fmla="*/ 677674 w 3557588"/>
              <a:gd name="connsiteY12" fmla="*/ 957 h 1344613"/>
              <a:gd name="connsiteX13" fmla="*/ 674812 w 3557588"/>
              <a:gd name="connsiteY13" fmla="*/ 1913 h 1344613"/>
              <a:gd name="connsiteX14" fmla="*/ 636655 w 3557588"/>
              <a:gd name="connsiteY14" fmla="*/ 4783 h 1344613"/>
              <a:gd name="connsiteX15" fmla="*/ 635701 w 3557588"/>
              <a:gd name="connsiteY15" fmla="*/ 4783 h 1344613"/>
              <a:gd name="connsiteX16" fmla="*/ 573890 w 3557588"/>
              <a:gd name="connsiteY16" fmla="*/ 15839 h 1344613"/>
              <a:gd name="connsiteX17" fmla="*/ 533340 w 3557588"/>
              <a:gd name="connsiteY17" fmla="*/ 19938 h 1344613"/>
              <a:gd name="connsiteX18" fmla="*/ 0 w 3557588"/>
              <a:gd name="connsiteY18" fmla="*/ 675960 h 1344613"/>
              <a:gd name="connsiteX19" fmla="*/ 667751 w 3557588"/>
              <a:gd name="connsiteY19" fmla="*/ 1344613 h 1344613"/>
              <a:gd name="connsiteX20" fmla="*/ 749126 w 3557588"/>
              <a:gd name="connsiteY20" fmla="*/ 1339688 h 1344613"/>
              <a:gd name="connsiteX21" fmla="*/ 766171 w 3557588"/>
              <a:gd name="connsiteY21" fmla="*/ 1336563 h 1344613"/>
              <a:gd name="connsiteX22" fmla="*/ 796915 w 3557588"/>
              <a:gd name="connsiteY22" fmla="*/ 1333480 h 1344613"/>
              <a:gd name="connsiteX23" fmla="*/ 797869 w 3557588"/>
              <a:gd name="connsiteY23" fmla="*/ 1333480 h 1344613"/>
              <a:gd name="connsiteX24" fmla="*/ 1257663 w 3557588"/>
              <a:gd name="connsiteY24" fmla="*/ 1062767 h 1344613"/>
              <a:gd name="connsiteX25" fmla="*/ 1613681 w 3557588"/>
              <a:gd name="connsiteY25" fmla="*/ 805243 h 1344613"/>
              <a:gd name="connsiteX26" fmla="*/ 1683778 w 3557588"/>
              <a:gd name="connsiteY26" fmla="*/ 787924 h 1344613"/>
              <a:gd name="connsiteX27" fmla="*/ 1714809 w 3557588"/>
              <a:gd name="connsiteY27" fmla="*/ 784054 h 1344613"/>
              <a:gd name="connsiteX28" fmla="*/ 2299925 w 3557588"/>
              <a:gd name="connsiteY28" fmla="*/ 1069117 h 1344613"/>
              <a:gd name="connsiteX29" fmla="*/ 2759719 w 3557588"/>
              <a:gd name="connsiteY29" fmla="*/ 1339830 h 1344613"/>
              <a:gd name="connsiteX30" fmla="*/ 2760673 w 3557588"/>
              <a:gd name="connsiteY30" fmla="*/ 1339830 h 1344613"/>
              <a:gd name="connsiteX31" fmla="*/ 2798831 w 3557588"/>
              <a:gd name="connsiteY31" fmla="*/ 1343657 h 1344613"/>
              <a:gd name="connsiteX32" fmla="*/ 2800738 w 3557588"/>
              <a:gd name="connsiteY32" fmla="*/ 1343657 h 1344613"/>
              <a:gd name="connsiteX33" fmla="*/ 2838896 w 3557588"/>
              <a:gd name="connsiteY33" fmla="*/ 1344613 h 1344613"/>
              <a:gd name="connsiteX34" fmla="*/ 2839850 w 3557588"/>
              <a:gd name="connsiteY34" fmla="*/ 1344613 h 1344613"/>
              <a:gd name="connsiteX35" fmla="*/ 2840803 w 3557588"/>
              <a:gd name="connsiteY35" fmla="*/ 1344613 h 1344613"/>
              <a:gd name="connsiteX36" fmla="*/ 2879915 w 3557588"/>
              <a:gd name="connsiteY36" fmla="*/ 1343657 h 1344613"/>
              <a:gd name="connsiteX37" fmla="*/ 2881822 w 3557588"/>
              <a:gd name="connsiteY37" fmla="*/ 1343657 h 1344613"/>
              <a:gd name="connsiteX38" fmla="*/ 2919980 w 3557588"/>
              <a:gd name="connsiteY38" fmla="*/ 1339830 h 1344613"/>
              <a:gd name="connsiteX39" fmla="*/ 2921887 w 3557588"/>
              <a:gd name="connsiteY39" fmla="*/ 1339830 h 1344613"/>
              <a:gd name="connsiteX40" fmla="*/ 2986964 w 3557588"/>
              <a:gd name="connsiteY40" fmla="*/ 1328445 h 1344613"/>
              <a:gd name="connsiteX41" fmla="*/ 3024248 w 3557588"/>
              <a:gd name="connsiteY41" fmla="*/ 1324677 h 1344613"/>
              <a:gd name="connsiteX42" fmla="*/ 3557588 w 3557588"/>
              <a:gd name="connsiteY42" fmla="*/ 669610 h 1344613"/>
              <a:gd name="connsiteX43" fmla="*/ 2889837 w 3557588"/>
              <a:gd name="connsiteY43" fmla="*/ 0 h 134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557588" h="1344613">
                <a:moveTo>
                  <a:pt x="2889837" y="0"/>
                </a:moveTo>
                <a:cubicBezTo>
                  <a:pt x="2862054" y="0"/>
                  <a:pt x="2834673" y="1704"/>
                  <a:pt x="2807792" y="5011"/>
                </a:cubicBezTo>
                <a:lnTo>
                  <a:pt x="2779811" y="10189"/>
                </a:lnTo>
                <a:lnTo>
                  <a:pt x="2751682" y="12017"/>
                </a:lnTo>
                <a:cubicBezTo>
                  <a:pt x="2551956" y="38186"/>
                  <a:pt x="2380532" y="153066"/>
                  <a:pt x="2277031" y="316284"/>
                </a:cubicBezTo>
                <a:cubicBezTo>
                  <a:pt x="2179730" y="435020"/>
                  <a:pt x="2048088" y="515553"/>
                  <a:pt x="1905395" y="548953"/>
                </a:cubicBezTo>
                <a:lnTo>
                  <a:pt x="1861105" y="556767"/>
                </a:lnTo>
                <a:lnTo>
                  <a:pt x="1797707" y="559961"/>
                </a:lnTo>
                <a:cubicBezTo>
                  <a:pt x="1601078" y="558646"/>
                  <a:pt x="1410292" y="468249"/>
                  <a:pt x="1280557" y="309934"/>
                </a:cubicBezTo>
                <a:cubicBezTo>
                  <a:pt x="1162270" y="123400"/>
                  <a:pt x="955267" y="0"/>
                  <a:pt x="718693" y="0"/>
                </a:cubicBezTo>
                <a:cubicBezTo>
                  <a:pt x="717739" y="0"/>
                  <a:pt x="717739" y="0"/>
                  <a:pt x="717739" y="0"/>
                </a:cubicBezTo>
                <a:cubicBezTo>
                  <a:pt x="717739" y="0"/>
                  <a:pt x="716785" y="0"/>
                  <a:pt x="716785" y="0"/>
                </a:cubicBezTo>
                <a:cubicBezTo>
                  <a:pt x="703430" y="0"/>
                  <a:pt x="691029" y="957"/>
                  <a:pt x="677674" y="957"/>
                </a:cubicBezTo>
                <a:cubicBezTo>
                  <a:pt x="676720" y="957"/>
                  <a:pt x="675766" y="957"/>
                  <a:pt x="674812" y="1913"/>
                </a:cubicBezTo>
                <a:cubicBezTo>
                  <a:pt x="662411" y="1913"/>
                  <a:pt x="650010" y="3826"/>
                  <a:pt x="636655" y="4783"/>
                </a:cubicBezTo>
                <a:cubicBezTo>
                  <a:pt x="636655" y="4783"/>
                  <a:pt x="635701" y="4783"/>
                  <a:pt x="635701" y="4783"/>
                </a:cubicBezTo>
                <a:lnTo>
                  <a:pt x="573890" y="15839"/>
                </a:lnTo>
                <a:lnTo>
                  <a:pt x="533340" y="19938"/>
                </a:lnTo>
                <a:cubicBezTo>
                  <a:pt x="229331" y="82309"/>
                  <a:pt x="0" y="352036"/>
                  <a:pt x="0" y="675960"/>
                </a:cubicBezTo>
                <a:cubicBezTo>
                  <a:pt x="0" y="1045202"/>
                  <a:pt x="299534" y="1344613"/>
                  <a:pt x="667751" y="1344613"/>
                </a:cubicBezTo>
                <a:cubicBezTo>
                  <a:pt x="695296" y="1344613"/>
                  <a:pt x="722453" y="1342939"/>
                  <a:pt x="749126" y="1339688"/>
                </a:cubicBezTo>
                <a:lnTo>
                  <a:pt x="766171" y="1336563"/>
                </a:lnTo>
                <a:lnTo>
                  <a:pt x="796915" y="1333480"/>
                </a:lnTo>
                <a:cubicBezTo>
                  <a:pt x="796915" y="1333480"/>
                  <a:pt x="797869" y="1333480"/>
                  <a:pt x="797869" y="1333480"/>
                </a:cubicBezTo>
                <a:cubicBezTo>
                  <a:pt x="986747" y="1311479"/>
                  <a:pt x="1151777" y="1210081"/>
                  <a:pt x="1257663" y="1062767"/>
                </a:cubicBezTo>
                <a:cubicBezTo>
                  <a:pt x="1363490" y="927948"/>
                  <a:pt x="1486830" y="845162"/>
                  <a:pt x="1613681" y="805243"/>
                </a:cubicBezTo>
                <a:lnTo>
                  <a:pt x="1683778" y="787924"/>
                </a:lnTo>
                <a:lnTo>
                  <a:pt x="1714809" y="784054"/>
                </a:lnTo>
                <a:cubicBezTo>
                  <a:pt x="1916445" y="770901"/>
                  <a:pt x="2130603" y="853407"/>
                  <a:pt x="2299925" y="1069117"/>
                </a:cubicBezTo>
                <a:cubicBezTo>
                  <a:pt x="2405811" y="1216431"/>
                  <a:pt x="2570841" y="1317829"/>
                  <a:pt x="2759719" y="1339830"/>
                </a:cubicBezTo>
                <a:cubicBezTo>
                  <a:pt x="2759719" y="1339830"/>
                  <a:pt x="2760673" y="1339830"/>
                  <a:pt x="2760673" y="1339830"/>
                </a:cubicBezTo>
                <a:cubicBezTo>
                  <a:pt x="2773074" y="1341743"/>
                  <a:pt x="2786429" y="1342700"/>
                  <a:pt x="2798831" y="1343657"/>
                </a:cubicBezTo>
                <a:cubicBezTo>
                  <a:pt x="2799784" y="1343657"/>
                  <a:pt x="2799784" y="1343657"/>
                  <a:pt x="2800738" y="1343657"/>
                </a:cubicBezTo>
                <a:cubicBezTo>
                  <a:pt x="2813139" y="1344613"/>
                  <a:pt x="2826495" y="1344613"/>
                  <a:pt x="2838896" y="1344613"/>
                </a:cubicBezTo>
                <a:cubicBezTo>
                  <a:pt x="2839850" y="1344613"/>
                  <a:pt x="2839850" y="1344613"/>
                  <a:pt x="2839850" y="1344613"/>
                </a:cubicBezTo>
                <a:cubicBezTo>
                  <a:pt x="2839850" y="1344613"/>
                  <a:pt x="2840803" y="1344613"/>
                  <a:pt x="2840803" y="1344613"/>
                </a:cubicBezTo>
                <a:cubicBezTo>
                  <a:pt x="2854158" y="1344613"/>
                  <a:pt x="2866560" y="1344613"/>
                  <a:pt x="2879915" y="1343657"/>
                </a:cubicBezTo>
                <a:cubicBezTo>
                  <a:pt x="2880868" y="1343657"/>
                  <a:pt x="2881822" y="1343657"/>
                  <a:pt x="2881822" y="1343657"/>
                </a:cubicBezTo>
                <a:cubicBezTo>
                  <a:pt x="2895177" y="1342700"/>
                  <a:pt x="2907579" y="1341743"/>
                  <a:pt x="2919980" y="1339830"/>
                </a:cubicBezTo>
                <a:cubicBezTo>
                  <a:pt x="2920934" y="1339830"/>
                  <a:pt x="2920934" y="1339830"/>
                  <a:pt x="2921887" y="1339830"/>
                </a:cubicBezTo>
                <a:lnTo>
                  <a:pt x="2986964" y="1328445"/>
                </a:lnTo>
                <a:lnTo>
                  <a:pt x="3024248" y="1324677"/>
                </a:lnTo>
                <a:cubicBezTo>
                  <a:pt x="3328257" y="1262319"/>
                  <a:pt x="3557588" y="992697"/>
                  <a:pt x="3557588" y="669610"/>
                </a:cubicBezTo>
                <a:cubicBezTo>
                  <a:pt x="3557588" y="299411"/>
                  <a:pt x="3258054" y="0"/>
                  <a:pt x="2889837" y="0"/>
                </a:cubicBezTo>
                <a:close/>
              </a:path>
            </a:pathLst>
          </a:custGeom>
          <a:solidFill>
            <a:srgbClr val="FFC62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66">
            <a:extLst>
              <a:ext uri="{FF2B5EF4-FFF2-40B4-BE49-F238E27FC236}">
                <a16:creationId xmlns:a16="http://schemas.microsoft.com/office/drawing/2014/main" id="{DF4D1330-2A44-7422-C01B-6F4B69A46E1B}"/>
              </a:ext>
            </a:extLst>
          </p:cNvPr>
          <p:cNvSpPr txBox="1"/>
          <p:nvPr/>
        </p:nvSpPr>
        <p:spPr>
          <a:xfrm>
            <a:off x="6819964" y="1714420"/>
            <a:ext cx="602699" cy="68825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prstClr val="white"/>
                </a:solidFill>
                <a:latin typeface="Calibri"/>
                <a:sym typeface="Wingdings" panose="05000000000000000000" pitchFamily="2" charset="2"/>
              </a:rPr>
              <a:t>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69">
            <a:extLst>
              <a:ext uri="{FF2B5EF4-FFF2-40B4-BE49-F238E27FC236}">
                <a16:creationId xmlns:a16="http://schemas.microsoft.com/office/drawing/2014/main" id="{30ADAB55-1A36-8CF5-9723-688E30C027CD}"/>
              </a:ext>
            </a:extLst>
          </p:cNvPr>
          <p:cNvSpPr/>
          <p:nvPr/>
        </p:nvSpPr>
        <p:spPr>
          <a:xfrm>
            <a:off x="6375325" y="2478651"/>
            <a:ext cx="403852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tsächliche Umsetzung der multimedialen Präsentation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(</a:t>
            </a:r>
            <a:r>
              <a:rPr lang="de-DE" sz="1200" dirty="0">
                <a:solidFill>
                  <a:srgbClr val="000000"/>
                </a:solidFill>
                <a:latin typeface="Calibri"/>
              </a:rPr>
              <a:t>mit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Absprache</a:t>
            </a:r>
            <a:r>
              <a:rPr lang="de-DE" sz="1200" dirty="0">
                <a:solidFill>
                  <a:srgbClr val="000000"/>
                </a:solidFill>
                <a:latin typeface="Calibri"/>
              </a:rPr>
              <a:t> </a:t>
            </a:r>
            <a:r>
              <a:rPr kumimoji="0" lang="de-DE" sz="12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/ </a:t>
            </a: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Change Request)</a:t>
            </a:r>
          </a:p>
        </p:txBody>
      </p:sp>
      <p:sp>
        <p:nvSpPr>
          <p:cNvPr id="16" name="Arc 72">
            <a:extLst>
              <a:ext uri="{FF2B5EF4-FFF2-40B4-BE49-F238E27FC236}">
                <a16:creationId xmlns:a16="http://schemas.microsoft.com/office/drawing/2014/main" id="{FF0B1267-0110-886E-3242-1D0F548364C2}"/>
              </a:ext>
            </a:extLst>
          </p:cNvPr>
          <p:cNvSpPr/>
          <p:nvPr/>
        </p:nvSpPr>
        <p:spPr>
          <a:xfrm rot="6739027">
            <a:off x="6042317" y="1598711"/>
            <a:ext cx="617932" cy="608660"/>
          </a:xfrm>
          <a:prstGeom prst="arc">
            <a:avLst>
              <a:gd name="adj1" fmla="val 15382243"/>
              <a:gd name="adj2" fmla="val 1177101"/>
            </a:avLst>
          </a:prstGeom>
          <a:solidFill>
            <a:srgbClr val="FFC620">
              <a:alpha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7" name="Straight Arrow Connector 75">
            <a:extLst>
              <a:ext uri="{FF2B5EF4-FFF2-40B4-BE49-F238E27FC236}">
                <a16:creationId xmlns:a16="http://schemas.microsoft.com/office/drawing/2014/main" id="{94F7DD33-67EE-D4DD-C224-9BB9AD37943A}"/>
              </a:ext>
            </a:extLst>
          </p:cNvPr>
          <p:cNvCxnSpPr>
            <a:cxnSpLocks/>
          </p:cNvCxnSpPr>
          <p:nvPr/>
        </p:nvCxnSpPr>
        <p:spPr>
          <a:xfrm flipH="1">
            <a:off x="6218485" y="2471022"/>
            <a:ext cx="944" cy="3602830"/>
          </a:xfrm>
          <a:prstGeom prst="straightConnector1">
            <a:avLst/>
          </a:prstGeom>
          <a:noFill/>
          <a:ln w="9525" cap="flat" cmpd="sng" algn="ctr">
            <a:solidFill>
              <a:srgbClr val="FFC620"/>
            </a:solidFill>
            <a:prstDash val="solid"/>
            <a:headEnd type="diamond" w="med" len="med"/>
            <a:tailEnd type="diamond" w="med" len="med"/>
          </a:ln>
          <a:effectLst/>
        </p:spPr>
      </p:cxnSp>
      <p:cxnSp>
        <p:nvCxnSpPr>
          <p:cNvPr id="18" name="Straight Connector 4">
            <a:extLst>
              <a:ext uri="{FF2B5EF4-FFF2-40B4-BE49-F238E27FC236}">
                <a16:creationId xmlns:a16="http://schemas.microsoft.com/office/drawing/2014/main" id="{7D20456C-6691-A6AD-29F6-7A690CAE770F}"/>
              </a:ext>
            </a:extLst>
          </p:cNvPr>
          <p:cNvCxnSpPr>
            <a:cxnSpLocks/>
          </p:cNvCxnSpPr>
          <p:nvPr/>
        </p:nvCxnSpPr>
        <p:spPr>
          <a:xfrm>
            <a:off x="841058" y="3015317"/>
            <a:ext cx="10296525" cy="0"/>
          </a:xfrm>
          <a:prstGeom prst="line">
            <a:avLst/>
          </a:prstGeom>
          <a:noFill/>
          <a:ln w="9525" cap="flat" cmpd="sng" algn="ctr">
            <a:solidFill>
              <a:srgbClr val="3A3A3A"/>
            </a:solidFill>
            <a:prstDash val="dash"/>
            <a:headEnd type="diamond" w="med" len="med"/>
            <a:tailEnd type="diamond" w="med" len="med"/>
          </a:ln>
          <a:effectLst/>
        </p:spPr>
      </p:cxnSp>
      <p:sp>
        <p:nvSpPr>
          <p:cNvPr id="24" name="Freeform 311">
            <a:extLst>
              <a:ext uri="{FF2B5EF4-FFF2-40B4-BE49-F238E27FC236}">
                <a16:creationId xmlns:a16="http://schemas.microsoft.com/office/drawing/2014/main" id="{15055B65-4B02-5C53-D96B-B42EE147E089}"/>
              </a:ext>
            </a:extLst>
          </p:cNvPr>
          <p:cNvSpPr>
            <a:spLocks noEditPoints="1"/>
          </p:cNvSpPr>
          <p:nvPr/>
        </p:nvSpPr>
        <p:spPr bwMode="auto">
          <a:xfrm>
            <a:off x="1087765" y="2242608"/>
            <a:ext cx="519175" cy="517653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Freeform 311">
            <a:extLst>
              <a:ext uri="{FF2B5EF4-FFF2-40B4-BE49-F238E27FC236}">
                <a16:creationId xmlns:a16="http://schemas.microsoft.com/office/drawing/2014/main" id="{97645C9D-A648-B17C-24FF-52221FF7ADD5}"/>
              </a:ext>
            </a:extLst>
          </p:cNvPr>
          <p:cNvSpPr>
            <a:spLocks noEditPoints="1"/>
          </p:cNvSpPr>
          <p:nvPr/>
        </p:nvSpPr>
        <p:spPr bwMode="auto">
          <a:xfrm>
            <a:off x="5651968" y="2257159"/>
            <a:ext cx="519175" cy="517653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C387CB9-60FD-EF40-2160-3958F1509B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152" y="2320486"/>
            <a:ext cx="337085" cy="337085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60A0CEFB-C7F9-2174-58C8-0D159ED785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001" y="2312280"/>
            <a:ext cx="378308" cy="378308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C5C2D29A-74CD-913A-D0B9-D7E59D308F9A}"/>
              </a:ext>
            </a:extLst>
          </p:cNvPr>
          <p:cNvSpPr/>
          <p:nvPr/>
        </p:nvSpPr>
        <p:spPr>
          <a:xfrm>
            <a:off x="6296979" y="4800815"/>
            <a:ext cx="5115560" cy="1376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1880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3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3B442-5DAF-D3E6-9D51-DC3422EBDB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CDCD55-92D0-BA71-9930-E8D3B1E2B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Reflexion der Zielsetz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BCFA6F-B4D9-0C2C-6ACC-EEA150FA4E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83D95E-96FD-13C5-6E0B-5BA1EAF45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E4B4243-B259-26BF-2E93-42EDDD9E9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1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F65A37C-C649-146A-5CB6-28D0E4A76CAD}"/>
              </a:ext>
            </a:extLst>
          </p:cNvPr>
          <p:cNvSpPr txBox="1"/>
          <p:nvPr/>
        </p:nvSpPr>
        <p:spPr>
          <a:xfrm>
            <a:off x="947738" y="889556"/>
            <a:ext cx="5865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6100" indent="-457200">
              <a:buFont typeface="+mj-lt"/>
              <a:buAutoNum type="alphaLcParenR"/>
            </a:pPr>
            <a:r>
              <a:rPr lang="de-DE" sz="2000" dirty="0">
                <a:solidFill>
                  <a:srgbClr val="00257C"/>
                </a:solidFill>
              </a:rPr>
              <a:t>Ziele</a:t>
            </a:r>
          </a:p>
        </p:txBody>
      </p:sp>
      <p:sp>
        <p:nvSpPr>
          <p:cNvPr id="3" name="Rectangle 76">
            <a:extLst>
              <a:ext uri="{FF2B5EF4-FFF2-40B4-BE49-F238E27FC236}">
                <a16:creationId xmlns:a16="http://schemas.microsoft.com/office/drawing/2014/main" id="{377255F4-932F-E2FB-15E7-E3B0BDD063CC}"/>
              </a:ext>
            </a:extLst>
          </p:cNvPr>
          <p:cNvSpPr/>
          <p:nvPr/>
        </p:nvSpPr>
        <p:spPr bwMode="gray">
          <a:xfrm>
            <a:off x="6096002" y="1458807"/>
            <a:ext cx="5145434" cy="2329663"/>
          </a:xfrm>
          <a:prstGeom prst="rect">
            <a:avLst/>
          </a:prstGeom>
          <a:solidFill>
            <a:srgbClr val="E6E6E6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Rectangle 77">
            <a:extLst>
              <a:ext uri="{FF2B5EF4-FFF2-40B4-BE49-F238E27FC236}">
                <a16:creationId xmlns:a16="http://schemas.microsoft.com/office/drawing/2014/main" id="{593F702F-4E16-E0C7-2DC2-C33321E050B6}"/>
              </a:ext>
            </a:extLst>
          </p:cNvPr>
          <p:cNvSpPr/>
          <p:nvPr/>
        </p:nvSpPr>
        <p:spPr bwMode="gray">
          <a:xfrm>
            <a:off x="6096002" y="3777628"/>
            <a:ext cx="5145434" cy="2329663"/>
          </a:xfrm>
          <a:prstGeom prst="rect">
            <a:avLst/>
          </a:prstGeom>
          <a:solidFill>
            <a:srgbClr val="C8C8C8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Rectangle 78">
            <a:extLst>
              <a:ext uri="{FF2B5EF4-FFF2-40B4-BE49-F238E27FC236}">
                <a16:creationId xmlns:a16="http://schemas.microsoft.com/office/drawing/2014/main" id="{07DD86AC-D00C-8910-085F-6349819B46E9}"/>
              </a:ext>
            </a:extLst>
          </p:cNvPr>
          <p:cNvSpPr/>
          <p:nvPr/>
        </p:nvSpPr>
        <p:spPr bwMode="gray">
          <a:xfrm>
            <a:off x="950564" y="1458807"/>
            <a:ext cx="5145436" cy="2329663"/>
          </a:xfrm>
          <a:prstGeom prst="rect">
            <a:avLst/>
          </a:prstGeom>
          <a:solidFill>
            <a:srgbClr val="C8C8C8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" name="Rectangle 79">
            <a:extLst>
              <a:ext uri="{FF2B5EF4-FFF2-40B4-BE49-F238E27FC236}">
                <a16:creationId xmlns:a16="http://schemas.microsoft.com/office/drawing/2014/main" id="{54D98965-7E46-6349-8060-6B340A6DB619}"/>
              </a:ext>
            </a:extLst>
          </p:cNvPr>
          <p:cNvSpPr/>
          <p:nvPr/>
        </p:nvSpPr>
        <p:spPr bwMode="gray">
          <a:xfrm>
            <a:off x="950565" y="3777628"/>
            <a:ext cx="5145436" cy="2329663"/>
          </a:xfrm>
          <a:prstGeom prst="rect">
            <a:avLst/>
          </a:prstGeom>
          <a:solidFill>
            <a:srgbClr val="E6E6E6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" name="TextBox 80">
            <a:extLst>
              <a:ext uri="{FF2B5EF4-FFF2-40B4-BE49-F238E27FC236}">
                <a16:creationId xmlns:a16="http://schemas.microsoft.com/office/drawing/2014/main" id="{6CAE9D34-1FE0-B6AA-2E46-D839846BB5BA}"/>
              </a:ext>
            </a:extLst>
          </p:cNvPr>
          <p:cNvSpPr txBox="1"/>
          <p:nvPr/>
        </p:nvSpPr>
        <p:spPr>
          <a:xfrm>
            <a:off x="1176801" y="1643251"/>
            <a:ext cx="371827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rfolgsfaktor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in der EU-Forschung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identifiziere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3B6055F6-13AE-410F-1924-C6111A923B50}"/>
              </a:ext>
            </a:extLst>
          </p:cNvPr>
          <p:cNvSpPr txBox="1"/>
          <p:nvPr/>
        </p:nvSpPr>
        <p:spPr>
          <a:xfrm>
            <a:off x="7229205" y="1643251"/>
            <a:ext cx="39742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Visuell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ufbereitung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für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Verständlichkeit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sowi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Wiederverwendbarkeit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der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rgebnisse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16" name="TextBox 82">
            <a:extLst>
              <a:ext uri="{FF2B5EF4-FFF2-40B4-BE49-F238E27FC236}">
                <a16:creationId xmlns:a16="http://schemas.microsoft.com/office/drawing/2014/main" id="{FD5D30AA-461E-3D61-40B0-8F0A07F5A53B}"/>
              </a:ext>
            </a:extLst>
          </p:cNvPr>
          <p:cNvSpPr txBox="1"/>
          <p:nvPr/>
        </p:nvSpPr>
        <p:spPr>
          <a:xfrm>
            <a:off x="1176423" y="4013891"/>
            <a:ext cx="37403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Datastory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und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bschließend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Multimedia-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Präsentatio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fundiert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ufbaue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18" name="Rectangle 83">
            <a:extLst>
              <a:ext uri="{FF2B5EF4-FFF2-40B4-BE49-F238E27FC236}">
                <a16:creationId xmlns:a16="http://schemas.microsoft.com/office/drawing/2014/main" id="{5D754862-C307-6638-8051-68AB6C45C1E6}"/>
              </a:ext>
            </a:extLst>
          </p:cNvPr>
          <p:cNvSpPr/>
          <p:nvPr/>
        </p:nvSpPr>
        <p:spPr>
          <a:xfrm>
            <a:off x="1185730" y="1960253"/>
            <a:ext cx="367274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Vollständig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naly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ll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Hypothes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Erstellung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ussagekräfitg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iagramme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Berechung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tatistisch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Metriken</a:t>
            </a:r>
            <a:r>
              <a:rPr lang="en-US" sz="1300" dirty="0">
                <a:latin typeface="Calibri"/>
              </a:rPr>
              <a:t> für die </a:t>
            </a:r>
            <a:r>
              <a:rPr lang="en-US" sz="1300" dirty="0" err="1">
                <a:latin typeface="Calibri"/>
              </a:rPr>
              <a:t>wissenschaftlich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Fundier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Untersuchung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Identifikation</a:t>
            </a:r>
            <a:r>
              <a:rPr lang="en-US" sz="1300" dirty="0">
                <a:latin typeface="Calibri"/>
              </a:rPr>
              <a:t> von </a:t>
            </a:r>
            <a:r>
              <a:rPr lang="en-US" sz="1300" dirty="0" err="1">
                <a:latin typeface="Calibri"/>
              </a:rPr>
              <a:t>Muster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Abhängigkeiten</a:t>
            </a:r>
            <a:endParaRPr lang="en-US" sz="1300" dirty="0">
              <a:latin typeface="Calibri"/>
            </a:endParaRPr>
          </a:p>
        </p:txBody>
      </p:sp>
      <p:sp>
        <p:nvSpPr>
          <p:cNvPr id="25" name="Rectangle 85">
            <a:extLst>
              <a:ext uri="{FF2B5EF4-FFF2-40B4-BE49-F238E27FC236}">
                <a16:creationId xmlns:a16="http://schemas.microsoft.com/office/drawing/2014/main" id="{955DAD99-9476-7FB4-BAF1-6EE3C017081B}"/>
              </a:ext>
            </a:extLst>
          </p:cNvPr>
          <p:cNvSpPr/>
          <p:nvPr/>
        </p:nvSpPr>
        <p:spPr>
          <a:xfrm>
            <a:off x="7229212" y="2172611"/>
            <a:ext cx="3729569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Jed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Hypothe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ird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ur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in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ediziert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Visualisierungsmethod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stützt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Leicht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Verständlichkeit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Interpretierbarkei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bei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enno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hohem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Informationsgehalt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Wiederverwendbarkeit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Visualisierung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Analys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ur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modularen</a:t>
            </a:r>
            <a:r>
              <a:rPr lang="en-US" sz="1300" dirty="0">
                <a:latin typeface="Calibri"/>
              </a:rPr>
              <a:t> Code und SVG-Export </a:t>
            </a:r>
          </a:p>
        </p:txBody>
      </p:sp>
      <p:sp>
        <p:nvSpPr>
          <p:cNvPr id="26" name="TextBox 86">
            <a:extLst>
              <a:ext uri="{FF2B5EF4-FFF2-40B4-BE49-F238E27FC236}">
                <a16:creationId xmlns:a16="http://schemas.microsoft.com/office/drawing/2014/main" id="{B2D9EBDB-CA4B-5656-A925-7EF17D0BFC8E}"/>
              </a:ext>
            </a:extLst>
          </p:cNvPr>
          <p:cNvSpPr txBox="1"/>
          <p:nvPr/>
        </p:nvSpPr>
        <p:spPr>
          <a:xfrm>
            <a:off x="7229205" y="4013891"/>
            <a:ext cx="30374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ntwicklung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quantitative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Metrik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zu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Bewertung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von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rfolgsfaktore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27" name="Rectangle 87">
            <a:extLst>
              <a:ext uri="{FF2B5EF4-FFF2-40B4-BE49-F238E27FC236}">
                <a16:creationId xmlns:a16="http://schemas.microsoft.com/office/drawing/2014/main" id="{B90FEA17-1C16-A151-FC0E-5F83B16F1627}"/>
              </a:ext>
            </a:extLst>
          </p:cNvPr>
          <p:cNvSpPr/>
          <p:nvPr/>
        </p:nvSpPr>
        <p:spPr>
          <a:xfrm>
            <a:off x="7229206" y="4564919"/>
            <a:ext cx="3739208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>
                <a:latin typeface="Calibri"/>
              </a:rPr>
              <a:t>Flexible und </a:t>
            </a:r>
            <a:r>
              <a:rPr lang="en-US" sz="1300" dirty="0" err="1">
                <a:latin typeface="Calibri"/>
              </a:rPr>
              <a:t>individuelle</a:t>
            </a:r>
            <a:r>
              <a:rPr lang="en-US" sz="1300" dirty="0">
                <a:latin typeface="Calibri"/>
              </a:rPr>
              <a:t> Wahl und </a:t>
            </a:r>
            <a:r>
              <a:rPr lang="en-US" sz="1300" dirty="0" err="1">
                <a:latin typeface="Calibri"/>
              </a:rPr>
              <a:t>Berechn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Metriken</a:t>
            </a:r>
            <a:r>
              <a:rPr lang="en-US" sz="1300" dirty="0">
                <a:latin typeface="Calibri"/>
              </a:rPr>
              <a:t> für die </a:t>
            </a:r>
            <a:r>
              <a:rPr lang="en-US" sz="1300" dirty="0" err="1">
                <a:latin typeface="Calibri"/>
              </a:rPr>
              <a:t>jeweilig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Hypothes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Beacht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statistisch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wissenschaftlich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Korrektheit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Maximal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ussagekraft</a:t>
            </a:r>
            <a:r>
              <a:rPr lang="en-US" sz="1300" dirty="0">
                <a:latin typeface="Calibri"/>
              </a:rPr>
              <a:t> </a:t>
            </a:r>
          </a:p>
        </p:txBody>
      </p:sp>
      <p:sp>
        <p:nvSpPr>
          <p:cNvPr id="28" name="Right Triangle 88">
            <a:extLst>
              <a:ext uri="{FF2B5EF4-FFF2-40B4-BE49-F238E27FC236}">
                <a16:creationId xmlns:a16="http://schemas.microsoft.com/office/drawing/2014/main" id="{A06A7DFC-211A-2790-E4AF-D3E82A4C4331}"/>
              </a:ext>
            </a:extLst>
          </p:cNvPr>
          <p:cNvSpPr/>
          <p:nvPr/>
        </p:nvSpPr>
        <p:spPr bwMode="gray">
          <a:xfrm rot="5400000">
            <a:off x="5066682" y="2774870"/>
            <a:ext cx="692798" cy="692798"/>
          </a:xfrm>
          <a:prstGeom prst="rtTriangle">
            <a:avLst/>
          </a:prstGeom>
          <a:solidFill>
            <a:srgbClr val="FFC620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9" name="Right Triangle 89">
            <a:extLst>
              <a:ext uri="{FF2B5EF4-FFF2-40B4-BE49-F238E27FC236}">
                <a16:creationId xmlns:a16="http://schemas.microsoft.com/office/drawing/2014/main" id="{5377AA99-3FAC-DE5A-0E64-173691552A6F}"/>
              </a:ext>
            </a:extLst>
          </p:cNvPr>
          <p:cNvSpPr/>
          <p:nvPr/>
        </p:nvSpPr>
        <p:spPr bwMode="gray">
          <a:xfrm rot="10800000">
            <a:off x="6401324" y="2774875"/>
            <a:ext cx="692798" cy="692798"/>
          </a:xfrm>
          <a:prstGeom prst="rtTriangle">
            <a:avLst/>
          </a:prstGeom>
          <a:solidFill>
            <a:srgbClr val="00257C"/>
          </a:solidFill>
          <a:ln w="19050" algn="ctr">
            <a:solidFill>
              <a:srgbClr val="00257C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0" name="Right Triangle 90">
            <a:extLst>
              <a:ext uri="{FF2B5EF4-FFF2-40B4-BE49-F238E27FC236}">
                <a16:creationId xmlns:a16="http://schemas.microsoft.com/office/drawing/2014/main" id="{666C602B-0E28-170C-7F7A-A2A25A321B9F}"/>
              </a:ext>
            </a:extLst>
          </p:cNvPr>
          <p:cNvSpPr/>
          <p:nvPr/>
        </p:nvSpPr>
        <p:spPr bwMode="gray">
          <a:xfrm>
            <a:off x="5066675" y="4048597"/>
            <a:ext cx="692798" cy="692798"/>
          </a:xfrm>
          <a:prstGeom prst="rtTriangle">
            <a:avLst/>
          </a:prstGeom>
          <a:solidFill>
            <a:srgbClr val="00257C"/>
          </a:solidFill>
          <a:ln w="19050" algn="ctr">
            <a:solidFill>
              <a:srgbClr val="00257C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1" name="Right Triangle 91">
            <a:extLst>
              <a:ext uri="{FF2B5EF4-FFF2-40B4-BE49-F238E27FC236}">
                <a16:creationId xmlns:a16="http://schemas.microsoft.com/office/drawing/2014/main" id="{DF77DB67-4320-F37B-65E4-D252FDC7CC7A}"/>
              </a:ext>
            </a:extLst>
          </p:cNvPr>
          <p:cNvSpPr/>
          <p:nvPr/>
        </p:nvSpPr>
        <p:spPr bwMode="gray">
          <a:xfrm rot="16200000">
            <a:off x="6401330" y="4048591"/>
            <a:ext cx="692798" cy="692798"/>
          </a:xfrm>
          <a:prstGeom prst="rtTriangle">
            <a:avLst/>
          </a:prstGeom>
          <a:solidFill>
            <a:srgbClr val="FFC620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2" name="Rectangle 96">
            <a:extLst>
              <a:ext uri="{FF2B5EF4-FFF2-40B4-BE49-F238E27FC236}">
                <a16:creationId xmlns:a16="http://schemas.microsoft.com/office/drawing/2014/main" id="{E173FA11-ABA4-EF5E-12E2-63AF36E41FEE}"/>
              </a:ext>
            </a:extLst>
          </p:cNvPr>
          <p:cNvSpPr/>
          <p:nvPr/>
        </p:nvSpPr>
        <p:spPr bwMode="gray">
          <a:xfrm>
            <a:off x="1947196" y="1458809"/>
            <a:ext cx="8297609" cy="464848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algn="ctr" defTabSz="913686"/>
            <a:endParaRPr lang="en-US" sz="12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 97">
            <a:extLst>
              <a:ext uri="{FF2B5EF4-FFF2-40B4-BE49-F238E27FC236}">
                <a16:creationId xmlns:a16="http://schemas.microsoft.com/office/drawing/2014/main" id="{DB510A8E-4DBE-E5A9-05E4-17EB2FDA4A59}"/>
              </a:ext>
            </a:extLst>
          </p:cNvPr>
          <p:cNvSpPr/>
          <p:nvPr/>
        </p:nvSpPr>
        <p:spPr bwMode="gray">
          <a:xfrm rot="18900000">
            <a:off x="5404652" y="3090705"/>
            <a:ext cx="1373849" cy="1373847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4" name="Rectangle 98">
            <a:extLst>
              <a:ext uri="{FF2B5EF4-FFF2-40B4-BE49-F238E27FC236}">
                <a16:creationId xmlns:a16="http://schemas.microsoft.com/office/drawing/2014/main" id="{A1BD6D99-4091-8C53-7DAB-447082E205CC}"/>
              </a:ext>
            </a:extLst>
          </p:cNvPr>
          <p:cNvSpPr/>
          <p:nvPr/>
        </p:nvSpPr>
        <p:spPr bwMode="gray">
          <a:xfrm rot="18900000">
            <a:off x="5407296" y="3089757"/>
            <a:ext cx="1373849" cy="1373847"/>
          </a:xfrm>
          <a:prstGeom prst="rect">
            <a:avLst/>
          </a:prstGeom>
          <a:solidFill>
            <a:srgbClr val="00257C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5" name="TextBox 99">
            <a:extLst>
              <a:ext uri="{FF2B5EF4-FFF2-40B4-BE49-F238E27FC236}">
                <a16:creationId xmlns:a16="http://schemas.microsoft.com/office/drawing/2014/main" id="{F0C821DE-27E4-50F9-A3DD-1A11AFD8C390}"/>
              </a:ext>
            </a:extLst>
          </p:cNvPr>
          <p:cNvSpPr txBox="1"/>
          <p:nvPr/>
        </p:nvSpPr>
        <p:spPr>
          <a:xfrm>
            <a:off x="5496603" y="3680435"/>
            <a:ext cx="1189945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686">
              <a:buSzPct val="100000"/>
            </a:pPr>
            <a:r>
              <a:rPr lang="en-US" sz="1300" b="1" dirty="0" err="1">
                <a:solidFill>
                  <a:schemeClr val="bg1"/>
                </a:solidFill>
                <a:latin typeface="Calibri"/>
              </a:rPr>
              <a:t>Ziele</a:t>
            </a:r>
            <a:endParaRPr lang="en-US" sz="13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Freeform 743">
            <a:extLst>
              <a:ext uri="{FF2B5EF4-FFF2-40B4-BE49-F238E27FC236}">
                <a16:creationId xmlns:a16="http://schemas.microsoft.com/office/drawing/2014/main" id="{677CAFDE-298F-EEE7-8242-6397EBB12D20}"/>
              </a:ext>
            </a:extLst>
          </p:cNvPr>
          <p:cNvSpPr>
            <a:spLocks noEditPoints="1"/>
          </p:cNvSpPr>
          <p:nvPr/>
        </p:nvSpPr>
        <p:spPr bwMode="auto">
          <a:xfrm>
            <a:off x="5128953" y="2845127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Freeform 362">
            <a:extLst>
              <a:ext uri="{FF2B5EF4-FFF2-40B4-BE49-F238E27FC236}">
                <a16:creationId xmlns:a16="http://schemas.microsoft.com/office/drawing/2014/main" id="{323C9389-A349-6A26-965F-D9A00B2751C5}"/>
              </a:ext>
            </a:extLst>
          </p:cNvPr>
          <p:cNvSpPr>
            <a:spLocks noEditPoints="1"/>
          </p:cNvSpPr>
          <p:nvPr/>
        </p:nvSpPr>
        <p:spPr bwMode="auto">
          <a:xfrm>
            <a:off x="6758046" y="2845128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5" name="Freeform 910">
            <a:extLst>
              <a:ext uri="{FF2B5EF4-FFF2-40B4-BE49-F238E27FC236}">
                <a16:creationId xmlns:a16="http://schemas.microsoft.com/office/drawing/2014/main" id="{99C2A6E5-ED88-645A-6443-6EB17A38364C}"/>
              </a:ext>
            </a:extLst>
          </p:cNvPr>
          <p:cNvSpPr>
            <a:spLocks noEditPoints="1"/>
          </p:cNvSpPr>
          <p:nvPr/>
        </p:nvSpPr>
        <p:spPr bwMode="auto">
          <a:xfrm>
            <a:off x="5117475" y="4365978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9" name="Freeform 659">
            <a:extLst>
              <a:ext uri="{FF2B5EF4-FFF2-40B4-BE49-F238E27FC236}">
                <a16:creationId xmlns:a16="http://schemas.microsoft.com/office/drawing/2014/main" id="{A36D31AF-7094-C6E5-EC50-F6F257AA61D0}"/>
              </a:ext>
            </a:extLst>
          </p:cNvPr>
          <p:cNvSpPr>
            <a:spLocks noEditPoints="1"/>
          </p:cNvSpPr>
          <p:nvPr/>
        </p:nvSpPr>
        <p:spPr bwMode="auto">
          <a:xfrm>
            <a:off x="6786632" y="4368870"/>
            <a:ext cx="269054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EC2B24E-E7EB-1D45-570D-81481B234CBF}"/>
              </a:ext>
            </a:extLst>
          </p:cNvPr>
          <p:cNvSpPr>
            <a:spLocks noChangeAspect="1"/>
          </p:cNvSpPr>
          <p:nvPr/>
        </p:nvSpPr>
        <p:spPr>
          <a:xfrm>
            <a:off x="5319363" y="2224985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8188BC71-03C9-9B60-01C6-8D23EED4E2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232" y="1695911"/>
            <a:ext cx="773112" cy="773112"/>
          </a:xfrm>
          <a:prstGeom prst="rect">
            <a:avLst/>
          </a:prstGeom>
        </p:spPr>
      </p:pic>
      <p:sp>
        <p:nvSpPr>
          <p:cNvPr id="57" name="Ellipse 56">
            <a:extLst>
              <a:ext uri="{FF2B5EF4-FFF2-40B4-BE49-F238E27FC236}">
                <a16:creationId xmlns:a16="http://schemas.microsoft.com/office/drawing/2014/main" id="{7789D10D-5BF1-D060-999F-46E29F04D7A4}"/>
              </a:ext>
            </a:extLst>
          </p:cNvPr>
          <p:cNvSpPr>
            <a:spLocks noChangeAspect="1"/>
          </p:cNvSpPr>
          <p:nvPr/>
        </p:nvSpPr>
        <p:spPr>
          <a:xfrm>
            <a:off x="6662118" y="2224985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7713DD80-33BE-A3ED-4A62-2EA72A588E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987" y="1695911"/>
            <a:ext cx="773112" cy="773112"/>
          </a:xfrm>
          <a:prstGeom prst="rect">
            <a:avLst/>
          </a:prstGeom>
        </p:spPr>
      </p:pic>
      <p:sp>
        <p:nvSpPr>
          <p:cNvPr id="62" name="Ellipse 61">
            <a:extLst>
              <a:ext uri="{FF2B5EF4-FFF2-40B4-BE49-F238E27FC236}">
                <a16:creationId xmlns:a16="http://schemas.microsoft.com/office/drawing/2014/main" id="{2F51F9A1-FFA9-5CF1-E592-4FB3891FD93E}"/>
              </a:ext>
            </a:extLst>
          </p:cNvPr>
          <p:cNvSpPr>
            <a:spLocks noChangeAspect="1"/>
          </p:cNvSpPr>
          <p:nvPr/>
        </p:nvSpPr>
        <p:spPr>
          <a:xfrm>
            <a:off x="5319363" y="5576233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DD50E2D5-D6A3-2B6B-AD89-533B929DAA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232" y="5047159"/>
            <a:ext cx="773112" cy="773112"/>
          </a:xfrm>
          <a:prstGeom prst="rect">
            <a:avLst/>
          </a:prstGeom>
        </p:spPr>
      </p:pic>
      <p:sp>
        <p:nvSpPr>
          <p:cNvPr id="67" name="Ellipse 66">
            <a:extLst>
              <a:ext uri="{FF2B5EF4-FFF2-40B4-BE49-F238E27FC236}">
                <a16:creationId xmlns:a16="http://schemas.microsoft.com/office/drawing/2014/main" id="{BD6DB98B-E37E-FF48-B374-FB9010F696B1}"/>
              </a:ext>
            </a:extLst>
          </p:cNvPr>
          <p:cNvSpPr>
            <a:spLocks noChangeAspect="1"/>
          </p:cNvSpPr>
          <p:nvPr/>
        </p:nvSpPr>
        <p:spPr>
          <a:xfrm>
            <a:off x="6662118" y="5576233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BBD65AA7-9187-E6E9-D3E5-ECF5B709D2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987" y="5047159"/>
            <a:ext cx="773112" cy="773112"/>
          </a:xfrm>
          <a:prstGeom prst="rect">
            <a:avLst/>
          </a:prstGeom>
        </p:spPr>
      </p:pic>
      <p:sp>
        <p:nvSpPr>
          <p:cNvPr id="11" name="Rectangle 84">
            <a:extLst>
              <a:ext uri="{FF2B5EF4-FFF2-40B4-BE49-F238E27FC236}">
                <a16:creationId xmlns:a16="http://schemas.microsoft.com/office/drawing/2014/main" id="{019B7750-455B-A9FF-4F27-8E46E7E125DB}"/>
              </a:ext>
            </a:extLst>
          </p:cNvPr>
          <p:cNvSpPr/>
          <p:nvPr/>
        </p:nvSpPr>
        <p:spPr>
          <a:xfrm>
            <a:off x="1176423" y="4564919"/>
            <a:ext cx="3689712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Aussagekräftig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Reihenfolge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Gruppier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Hypothesen</a:t>
            </a:r>
            <a:r>
              <a:rPr lang="en-US" sz="1300" dirty="0">
                <a:latin typeface="Calibri"/>
              </a:rPr>
              <a:t>, </a:t>
            </a:r>
            <a:r>
              <a:rPr lang="en-US" sz="1300" dirty="0" err="1">
                <a:latin typeface="Calibri"/>
              </a:rPr>
              <a:t>mi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unterschiedlich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ranularität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Darleg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Bedeut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einzeln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Untersuchungspunkte</a:t>
            </a:r>
            <a:r>
              <a:rPr lang="en-US" sz="1300" dirty="0">
                <a:latin typeface="Calibri"/>
              </a:rPr>
              <a:t> für das </a:t>
            </a:r>
            <a:r>
              <a:rPr lang="en-US" sz="1300" dirty="0" err="1">
                <a:latin typeface="Calibri"/>
              </a:rPr>
              <a:t>Gesamtbild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Verständliche</a:t>
            </a:r>
            <a:r>
              <a:rPr lang="en-US" sz="1300" dirty="0">
                <a:latin typeface="Calibri"/>
              </a:rPr>
              <a:t> Interpretation und </a:t>
            </a:r>
            <a:r>
              <a:rPr lang="en-US" sz="1300" dirty="0" err="1">
                <a:latin typeface="Calibri"/>
              </a:rPr>
              <a:t>Darstellung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Ergebnisse</a:t>
            </a:r>
            <a:endParaRPr lang="en-US" sz="1300" dirty="0">
              <a:latin typeface="Calibri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C617F69B-FD8F-6F35-099E-0472A87D89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793" y="2878407"/>
            <a:ext cx="180864" cy="180864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FBB3AD11-56B6-6CED-7BE7-A63B1F019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732" y="4417478"/>
            <a:ext cx="165303" cy="165303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A0CDA2BB-6EB8-8634-E356-0246249196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080" y="2882201"/>
            <a:ext cx="170184" cy="17018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81CA59C8-82D5-C1A7-D21A-E4B16E2CF1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018" y="4410592"/>
            <a:ext cx="175365" cy="175365"/>
          </a:xfrm>
          <a:prstGeom prst="rect">
            <a:avLst/>
          </a:prstGeom>
        </p:spPr>
      </p:pic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677EB753-2DE6-D753-17E5-3C3B5F36063F}"/>
              </a:ext>
            </a:extLst>
          </p:cNvPr>
          <p:cNvGrpSpPr/>
          <p:nvPr/>
        </p:nvGrpSpPr>
        <p:grpSpPr>
          <a:xfrm>
            <a:off x="5025232" y="1695911"/>
            <a:ext cx="773112" cy="773112"/>
            <a:chOff x="86282" y="3384241"/>
            <a:chExt cx="773112" cy="773112"/>
          </a:xfrm>
        </p:grpSpPr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8303FAFD-A478-E352-DA30-5734B5A652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8ED1F707-BDBF-8E90-FC5B-EE349B5B3A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0FDF6CFD-0539-9516-39AC-9F45D58868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AC6A8401-549A-0116-03E1-C7FF2375E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DF099CD0-878E-182B-32C6-7FA86671723D}"/>
              </a:ext>
            </a:extLst>
          </p:cNvPr>
          <p:cNvGrpSpPr/>
          <p:nvPr/>
        </p:nvGrpSpPr>
        <p:grpSpPr>
          <a:xfrm>
            <a:off x="5025232" y="5047159"/>
            <a:ext cx="773112" cy="773112"/>
            <a:chOff x="86282" y="3384241"/>
            <a:chExt cx="773112" cy="773112"/>
          </a:xfrm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3C5789A6-1AF1-3E61-32F7-5178457CC9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78FAEA55-83EB-A5FC-63CF-D5C905C3C5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B2CF9405-64F5-5E17-B6A4-395DC6A025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94D507D3-EDF8-65DD-5C09-200DF7B9F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53799F96-9D1B-916A-B19D-E149665390E4}"/>
              </a:ext>
            </a:extLst>
          </p:cNvPr>
          <p:cNvGrpSpPr/>
          <p:nvPr/>
        </p:nvGrpSpPr>
        <p:grpSpPr>
          <a:xfrm>
            <a:off x="6367987" y="5047159"/>
            <a:ext cx="773112" cy="773112"/>
            <a:chOff x="86282" y="3384241"/>
            <a:chExt cx="773112" cy="773112"/>
          </a:xfrm>
        </p:grpSpPr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DE91CEE0-42D5-31D8-988D-99A4E32881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91A20A37-DBED-00E7-29A6-73DA7686CB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C35F043D-E36B-F3A9-6D4F-9F5D3AF497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1C04F955-E686-60D2-E8DB-9922D63CA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BF4540B-2058-F851-9DE4-D56E48719018}"/>
              </a:ext>
            </a:extLst>
          </p:cNvPr>
          <p:cNvGrpSpPr/>
          <p:nvPr/>
        </p:nvGrpSpPr>
        <p:grpSpPr>
          <a:xfrm>
            <a:off x="6367987" y="1695911"/>
            <a:ext cx="773112" cy="773112"/>
            <a:chOff x="86282" y="3384241"/>
            <a:chExt cx="773112" cy="773112"/>
          </a:xfrm>
        </p:grpSpPr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2E01F047-DDD2-29F8-1E7C-98262D70C3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CA0080D6-CB16-8F54-D021-DFBE4AABE4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71074FCB-66C1-73BD-8A91-6CFDB64BBB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9" name="Grafik 78">
              <a:extLst>
                <a:ext uri="{FF2B5EF4-FFF2-40B4-BE49-F238E27FC236}">
                  <a16:creationId xmlns:a16="http://schemas.microsoft.com/office/drawing/2014/main" id="{74D07205-3BBD-C940-7B3A-0FA74AF65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4094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6" grpId="0"/>
      <p:bldP spid="18" grpId="0"/>
      <p:bldP spid="25" grpId="0"/>
      <p:bldP spid="26" grpId="0"/>
      <p:bldP spid="27" grpId="0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8C6A2F-76E8-ED72-EFF9-DF8A4E85C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9">
            <a:extLst>
              <a:ext uri="{FF2B5EF4-FFF2-40B4-BE49-F238E27FC236}">
                <a16:creationId xmlns:a16="http://schemas.microsoft.com/office/drawing/2014/main" id="{D90A105D-0CE1-E31E-FAAF-2CB128813F6D}"/>
              </a:ext>
            </a:extLst>
          </p:cNvPr>
          <p:cNvSpPr/>
          <p:nvPr/>
        </p:nvSpPr>
        <p:spPr bwMode="gray">
          <a:xfrm>
            <a:off x="950565" y="3777628"/>
            <a:ext cx="5145436" cy="2329663"/>
          </a:xfrm>
          <a:prstGeom prst="rect">
            <a:avLst/>
          </a:prstGeom>
          <a:solidFill>
            <a:srgbClr val="E6E6E6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114DD72-4041-3982-B180-7E984E6F5DCE}"/>
              </a:ext>
            </a:extLst>
          </p:cNvPr>
          <p:cNvGrpSpPr/>
          <p:nvPr/>
        </p:nvGrpSpPr>
        <p:grpSpPr>
          <a:xfrm>
            <a:off x="5025232" y="5047159"/>
            <a:ext cx="773112" cy="773112"/>
            <a:chOff x="5025232" y="1695911"/>
            <a:chExt cx="773112" cy="77311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51F2B7A2-4B89-FF4B-CD2D-AF490D5906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19363" y="199004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648A8989-BF96-B742-087C-2F7B07F08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5232" y="1695911"/>
              <a:ext cx="773112" cy="77311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B3F1613-1EE3-C275-2B79-B4B87C16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Reflexion der Zielsetz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B87056E-2EC0-4695-29B5-0872243F7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BA688-987A-7433-7737-B6D3AAF58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E66C82-ACCF-6B38-8A2E-7F6F6D42A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2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D224632-A293-CB94-F60D-EB15E38DB3AE}"/>
              </a:ext>
            </a:extLst>
          </p:cNvPr>
          <p:cNvSpPr txBox="1"/>
          <p:nvPr/>
        </p:nvSpPr>
        <p:spPr>
          <a:xfrm>
            <a:off x="947738" y="889556"/>
            <a:ext cx="5865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0850" indent="-361950">
              <a:buFont typeface="+mj-lt"/>
              <a:buAutoNum type="alphaLcParenR" startAt="2"/>
            </a:pPr>
            <a:r>
              <a:rPr lang="de-DE" sz="2000" dirty="0">
                <a:solidFill>
                  <a:srgbClr val="00257C"/>
                </a:solidFill>
              </a:rPr>
              <a:t>Nicht-Ziele</a:t>
            </a:r>
          </a:p>
        </p:txBody>
      </p:sp>
      <p:sp>
        <p:nvSpPr>
          <p:cNvPr id="7" name="Rectangle 76">
            <a:extLst>
              <a:ext uri="{FF2B5EF4-FFF2-40B4-BE49-F238E27FC236}">
                <a16:creationId xmlns:a16="http://schemas.microsoft.com/office/drawing/2014/main" id="{7E04745E-0A7E-C727-ECAC-12C96CBD6AB0}"/>
              </a:ext>
            </a:extLst>
          </p:cNvPr>
          <p:cNvSpPr/>
          <p:nvPr/>
        </p:nvSpPr>
        <p:spPr bwMode="gray">
          <a:xfrm>
            <a:off x="6096002" y="1458807"/>
            <a:ext cx="5145434" cy="2329663"/>
          </a:xfrm>
          <a:prstGeom prst="rect">
            <a:avLst/>
          </a:prstGeom>
          <a:solidFill>
            <a:srgbClr val="E6E6E6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Rectangle 77">
            <a:extLst>
              <a:ext uri="{FF2B5EF4-FFF2-40B4-BE49-F238E27FC236}">
                <a16:creationId xmlns:a16="http://schemas.microsoft.com/office/drawing/2014/main" id="{1965544A-C7D7-1E49-D946-70496B0FFA27}"/>
              </a:ext>
            </a:extLst>
          </p:cNvPr>
          <p:cNvSpPr/>
          <p:nvPr/>
        </p:nvSpPr>
        <p:spPr bwMode="gray">
          <a:xfrm>
            <a:off x="6096002" y="3777628"/>
            <a:ext cx="5145434" cy="2329663"/>
          </a:xfrm>
          <a:prstGeom prst="rect">
            <a:avLst/>
          </a:prstGeom>
          <a:solidFill>
            <a:srgbClr val="C8C8C8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Rectangle 78">
            <a:extLst>
              <a:ext uri="{FF2B5EF4-FFF2-40B4-BE49-F238E27FC236}">
                <a16:creationId xmlns:a16="http://schemas.microsoft.com/office/drawing/2014/main" id="{0F2730B1-0281-2653-0D2C-7C9EE52B46EB}"/>
              </a:ext>
            </a:extLst>
          </p:cNvPr>
          <p:cNvSpPr/>
          <p:nvPr/>
        </p:nvSpPr>
        <p:spPr bwMode="gray">
          <a:xfrm>
            <a:off x="950564" y="1458807"/>
            <a:ext cx="5145436" cy="2329663"/>
          </a:xfrm>
          <a:prstGeom prst="rect">
            <a:avLst/>
          </a:prstGeom>
          <a:solidFill>
            <a:srgbClr val="C8C8C8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0" name="TextBox 80">
            <a:extLst>
              <a:ext uri="{FF2B5EF4-FFF2-40B4-BE49-F238E27FC236}">
                <a16:creationId xmlns:a16="http://schemas.microsoft.com/office/drawing/2014/main" id="{7060843F-A1A2-C09E-2C2C-22E20E352B29}"/>
              </a:ext>
            </a:extLst>
          </p:cNvPr>
          <p:cNvSpPr txBox="1"/>
          <p:nvPr/>
        </p:nvSpPr>
        <p:spPr>
          <a:xfrm>
            <a:off x="1176422" y="1643251"/>
            <a:ext cx="32048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Kein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mpfehlung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usspreche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21" name="TextBox 81">
            <a:extLst>
              <a:ext uri="{FF2B5EF4-FFF2-40B4-BE49-F238E27FC236}">
                <a16:creationId xmlns:a16="http://schemas.microsoft.com/office/drawing/2014/main" id="{AD137E8A-C218-796F-54FA-B78FF4434077}"/>
              </a:ext>
            </a:extLst>
          </p:cNvPr>
          <p:cNvSpPr txBox="1"/>
          <p:nvPr/>
        </p:nvSpPr>
        <p:spPr>
          <a:xfrm>
            <a:off x="7228826" y="1643251"/>
            <a:ext cx="401748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Kein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politisch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inordnung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ode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ussag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treffe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22" name="TextBox 82">
            <a:extLst>
              <a:ext uri="{FF2B5EF4-FFF2-40B4-BE49-F238E27FC236}">
                <a16:creationId xmlns:a16="http://schemas.microsoft.com/office/drawing/2014/main" id="{21F69104-1772-FEDE-1344-0498724BC2AE}"/>
              </a:ext>
            </a:extLst>
          </p:cNvPr>
          <p:cNvSpPr txBox="1"/>
          <p:nvPr/>
        </p:nvSpPr>
        <p:spPr>
          <a:xfrm>
            <a:off x="1176420" y="4013891"/>
            <a:ext cx="37770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Kein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Aussag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zu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strategisch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Verteilung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von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Förderungsmitteln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23" name="Rectangle 83">
            <a:extLst>
              <a:ext uri="{FF2B5EF4-FFF2-40B4-BE49-F238E27FC236}">
                <a16:creationId xmlns:a16="http://schemas.microsoft.com/office/drawing/2014/main" id="{1566BB50-3AE9-CDD2-8D28-A2F9099266AF}"/>
              </a:ext>
            </a:extLst>
          </p:cNvPr>
          <p:cNvSpPr/>
          <p:nvPr/>
        </p:nvSpPr>
        <p:spPr>
          <a:xfrm>
            <a:off x="1185351" y="1960253"/>
            <a:ext cx="3672741" cy="1800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Direkt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mpfehlung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oll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nich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ur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Regierungsextern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troff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erden</a:t>
            </a:r>
            <a:r>
              <a:rPr lang="en-US" sz="1300" dirty="0">
                <a:latin typeface="Calibri"/>
              </a:rPr>
              <a:t>, da die </a:t>
            </a:r>
            <a:r>
              <a:rPr lang="en-US" sz="1300" dirty="0" err="1">
                <a:latin typeface="Calibri"/>
              </a:rPr>
              <a:t>Verantwortung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Entscheidungsgewal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afü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nich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währleiste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erd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kan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Denno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lass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i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wis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rgebnis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nich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ertungsfrei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interpretieren</a:t>
            </a:r>
            <a:r>
              <a:rPr lang="en-US" sz="1300" dirty="0">
                <a:latin typeface="Calibri"/>
              </a:rPr>
              <a:t>, sodas </a:t>
            </a:r>
            <a:r>
              <a:rPr lang="en-US" sz="1300" dirty="0" err="1">
                <a:latin typeface="Calibri"/>
              </a:rPr>
              <a:t>im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samtbild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enno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hervorgeht</a:t>
            </a:r>
            <a:r>
              <a:rPr lang="en-US" sz="1300" dirty="0">
                <a:latin typeface="Calibri"/>
              </a:rPr>
              <a:t>, </a:t>
            </a:r>
            <a:r>
              <a:rPr lang="en-US" sz="1300" dirty="0" err="1">
                <a:latin typeface="Calibri"/>
              </a:rPr>
              <a:t>dass</a:t>
            </a:r>
            <a:r>
              <a:rPr lang="en-US" sz="1300" dirty="0">
                <a:latin typeface="Calibri"/>
              </a:rPr>
              <a:t> manche </a:t>
            </a:r>
            <a:r>
              <a:rPr lang="en-US" sz="1300" dirty="0" err="1">
                <a:latin typeface="Calibri"/>
              </a:rPr>
              <a:t>Erfolgsfaktor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eniger</a:t>
            </a:r>
            <a:r>
              <a:rPr lang="en-US" sz="1300" dirty="0">
                <a:latin typeface="Calibri"/>
              </a:rPr>
              <a:t> relevant </a:t>
            </a:r>
            <a:r>
              <a:rPr lang="en-US" sz="1300" dirty="0" err="1">
                <a:latin typeface="Calibri"/>
              </a:rPr>
              <a:t>scheinen</a:t>
            </a:r>
            <a:endParaRPr lang="en-US" sz="1300" dirty="0">
              <a:latin typeface="Calibri"/>
            </a:endParaRPr>
          </a:p>
        </p:txBody>
      </p:sp>
      <p:sp>
        <p:nvSpPr>
          <p:cNvPr id="24" name="Rectangle 84">
            <a:extLst>
              <a:ext uri="{FF2B5EF4-FFF2-40B4-BE49-F238E27FC236}">
                <a16:creationId xmlns:a16="http://schemas.microsoft.com/office/drawing/2014/main" id="{CB679F17-E4EC-3444-26EC-7D6F7B157BED}"/>
              </a:ext>
            </a:extLst>
          </p:cNvPr>
          <p:cNvSpPr/>
          <p:nvPr/>
        </p:nvSpPr>
        <p:spPr>
          <a:xfrm>
            <a:off x="1176423" y="4564919"/>
            <a:ext cx="3689712" cy="14003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Ledigli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Fokus</a:t>
            </a:r>
            <a:r>
              <a:rPr lang="en-US" sz="1300" dirty="0">
                <a:latin typeface="Calibri"/>
              </a:rPr>
              <a:t> auf die </a:t>
            </a:r>
            <a:r>
              <a:rPr lang="en-US" sz="1300" dirty="0" err="1">
                <a:latin typeface="Calibri"/>
              </a:rPr>
              <a:t>Analy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möglich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tellschraub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Einflussfaktoren</a:t>
            </a:r>
            <a:r>
              <a:rPr lang="en-US" sz="1300" dirty="0">
                <a:latin typeface="Calibri"/>
              </a:rPr>
              <a:t> des </a:t>
            </a:r>
            <a:r>
              <a:rPr lang="en-US" sz="1300" dirty="0" err="1">
                <a:latin typeface="Calibri"/>
              </a:rPr>
              <a:t>Forschungserfolgs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Denno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Thes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Analysen</a:t>
            </a:r>
            <a:r>
              <a:rPr lang="en-US" sz="1300" dirty="0">
                <a:latin typeface="Calibri"/>
              </a:rPr>
              <a:t>, </a:t>
            </a:r>
            <a:r>
              <a:rPr lang="en-US" sz="1300" dirty="0" err="1">
                <a:latin typeface="Calibri"/>
              </a:rPr>
              <a:t>welche</a:t>
            </a:r>
            <a:r>
              <a:rPr lang="en-US" sz="1300" dirty="0">
                <a:latin typeface="Calibri"/>
              </a:rPr>
              <a:t> die </a:t>
            </a:r>
            <a:r>
              <a:rPr lang="en-US" sz="1300" dirty="0" err="1">
                <a:latin typeface="Calibri"/>
              </a:rPr>
              <a:t>Investition</a:t>
            </a:r>
            <a:r>
              <a:rPr lang="en-US" sz="1300" dirty="0">
                <a:latin typeface="Calibri"/>
              </a:rPr>
              <a:t> auf </a:t>
            </a:r>
            <a:r>
              <a:rPr lang="en-US" sz="1300" dirty="0" err="1">
                <a:latin typeface="Calibri"/>
              </a:rPr>
              <a:t>gewiss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ntität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Einrichtung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nahelegen</a:t>
            </a:r>
            <a:endParaRPr lang="en-US" sz="1300" dirty="0">
              <a:latin typeface="Calibri"/>
            </a:endParaRPr>
          </a:p>
        </p:txBody>
      </p:sp>
      <p:sp>
        <p:nvSpPr>
          <p:cNvPr id="25" name="Rectangle 85">
            <a:extLst>
              <a:ext uri="{FF2B5EF4-FFF2-40B4-BE49-F238E27FC236}">
                <a16:creationId xmlns:a16="http://schemas.microsoft.com/office/drawing/2014/main" id="{E6A83A54-B096-82BA-0869-4C77DEE91586}"/>
              </a:ext>
            </a:extLst>
          </p:cNvPr>
          <p:cNvSpPr/>
          <p:nvPr/>
        </p:nvSpPr>
        <p:spPr>
          <a:xfrm>
            <a:off x="7228833" y="1960259"/>
            <a:ext cx="3729569" cy="1600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Kein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tiefgehend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nalyse</a:t>
            </a:r>
            <a:r>
              <a:rPr lang="en-US" sz="1300" dirty="0">
                <a:latin typeface="Calibri"/>
              </a:rPr>
              <a:t> von </a:t>
            </a:r>
            <a:r>
              <a:rPr lang="en-US" sz="1300" dirty="0" err="1">
                <a:latin typeface="Calibri"/>
              </a:rPr>
              <a:t>politisch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Ursach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od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uswirkungen</a:t>
            </a:r>
            <a:r>
              <a:rPr lang="en-US" sz="1300" dirty="0">
                <a:latin typeface="Calibri"/>
              </a:rPr>
              <a:t> auf die Forschung </a:t>
            </a:r>
            <a:r>
              <a:rPr lang="en-US" sz="1300" dirty="0" err="1">
                <a:latin typeface="Calibri"/>
              </a:rPr>
              <a:t>abseits</a:t>
            </a:r>
            <a:r>
              <a:rPr lang="en-US" sz="1300" dirty="0">
                <a:latin typeface="Calibri"/>
              </a:rPr>
              <a:t> der </a:t>
            </a:r>
            <a:r>
              <a:rPr lang="en-US" sz="1300" dirty="0" err="1">
                <a:latin typeface="Calibri"/>
              </a:rPr>
              <a:t>uns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vorliegend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quantifizierbaren</a:t>
            </a:r>
            <a:r>
              <a:rPr lang="en-US" sz="1300" dirty="0">
                <a:latin typeface="Calibri"/>
              </a:rPr>
              <a:t> Daten</a:t>
            </a: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Ebenso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kein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Berücksichtigung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eiter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politischer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inflüsse</a:t>
            </a:r>
            <a:r>
              <a:rPr lang="en-US" sz="1300" dirty="0">
                <a:latin typeface="Calibri"/>
              </a:rPr>
              <a:t> in den </a:t>
            </a:r>
            <a:r>
              <a:rPr lang="en-US" sz="1300" dirty="0" err="1">
                <a:latin typeface="Calibri"/>
              </a:rPr>
              <a:t>Analys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owi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Gewichtung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Ausschließli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neutral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nalysen</a:t>
            </a:r>
            <a:r>
              <a:rPr lang="en-US" sz="1300" dirty="0">
                <a:latin typeface="Calibri"/>
              </a:rPr>
              <a:t> und </a:t>
            </a:r>
            <a:r>
              <a:rPr lang="en-US" sz="1300" dirty="0" err="1">
                <a:latin typeface="Calibri"/>
              </a:rPr>
              <a:t>Auswertungen</a:t>
            </a:r>
            <a:endParaRPr lang="en-US" sz="1300" dirty="0">
              <a:latin typeface="Calibri"/>
            </a:endParaRPr>
          </a:p>
        </p:txBody>
      </p:sp>
      <p:sp>
        <p:nvSpPr>
          <p:cNvPr id="26" name="TextBox 86">
            <a:extLst>
              <a:ext uri="{FF2B5EF4-FFF2-40B4-BE49-F238E27FC236}">
                <a16:creationId xmlns:a16="http://schemas.microsoft.com/office/drawing/2014/main" id="{E76B6F10-82E2-8DB9-8F5D-66C50888A9E4}"/>
              </a:ext>
            </a:extLst>
          </p:cNvPr>
          <p:cNvSpPr txBox="1"/>
          <p:nvPr/>
        </p:nvSpPr>
        <p:spPr>
          <a:xfrm>
            <a:off x="7228826" y="4013891"/>
            <a:ext cx="401748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686">
              <a:buSzPct val="100000"/>
            </a:pP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Keine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Effizienzanalysen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ode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Rankings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differenzierter</a:t>
            </a:r>
            <a:r>
              <a:rPr lang="en-US" sz="1400" b="1" dirty="0">
                <a:solidFill>
                  <a:srgbClr val="00257C"/>
                </a:solidFill>
                <a:latin typeface="Calibri"/>
              </a:rPr>
              <a:t> </a:t>
            </a:r>
            <a:r>
              <a:rPr lang="en-US" sz="1400" b="1" dirty="0" err="1">
                <a:solidFill>
                  <a:srgbClr val="00257C"/>
                </a:solidFill>
                <a:latin typeface="Calibri"/>
              </a:rPr>
              <a:t>Forschungsfelder</a:t>
            </a:r>
            <a:endParaRPr lang="en-US" sz="1400" b="1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27" name="Rectangle 87">
            <a:extLst>
              <a:ext uri="{FF2B5EF4-FFF2-40B4-BE49-F238E27FC236}">
                <a16:creationId xmlns:a16="http://schemas.microsoft.com/office/drawing/2014/main" id="{3A4030D7-1497-9B66-C6D4-97EC1E4B8F7E}"/>
              </a:ext>
            </a:extLst>
          </p:cNvPr>
          <p:cNvSpPr/>
          <p:nvPr/>
        </p:nvSpPr>
        <p:spPr>
          <a:xfrm>
            <a:off x="7228827" y="4564921"/>
            <a:ext cx="3739208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Kein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realitätsnah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Einschätzung</a:t>
            </a:r>
            <a:r>
              <a:rPr lang="en-US" sz="1300" dirty="0">
                <a:latin typeface="Calibri"/>
              </a:rPr>
              <a:t>, </a:t>
            </a:r>
            <a:r>
              <a:rPr lang="en-US" sz="1300" dirty="0" err="1">
                <a:latin typeface="Calibri"/>
              </a:rPr>
              <a:t>wi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ich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spezifisch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Förderungsoption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uswirk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würden</a:t>
            </a:r>
            <a:endParaRPr lang="en-US" sz="13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endParaRPr lang="en-US" sz="1000" dirty="0">
              <a:latin typeface="Calibri"/>
            </a:endParaRPr>
          </a:p>
          <a:p>
            <a:pPr marL="125315" lvl="1" indent="-125315" defTabSz="913686">
              <a:buSzPct val="100000"/>
              <a:buFont typeface="Arial"/>
              <a:buChar char="•"/>
            </a:pPr>
            <a:r>
              <a:rPr lang="en-US" sz="1300" dirty="0" err="1">
                <a:latin typeface="Calibri"/>
              </a:rPr>
              <a:t>Forschungsfeldübergreifend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nalysen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anstatt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differenzierte</a:t>
            </a:r>
            <a:r>
              <a:rPr lang="en-US" sz="1300" dirty="0">
                <a:latin typeface="Calibri"/>
              </a:rPr>
              <a:t> </a:t>
            </a:r>
            <a:r>
              <a:rPr lang="en-US" sz="1300" dirty="0" err="1">
                <a:latin typeface="Calibri"/>
              </a:rPr>
              <a:t>Betrachtung</a:t>
            </a:r>
            <a:endParaRPr lang="en-US" sz="1300" dirty="0">
              <a:latin typeface="Calibri"/>
            </a:endParaRPr>
          </a:p>
        </p:txBody>
      </p:sp>
      <p:sp>
        <p:nvSpPr>
          <p:cNvPr id="28" name="Right Triangle 88">
            <a:extLst>
              <a:ext uri="{FF2B5EF4-FFF2-40B4-BE49-F238E27FC236}">
                <a16:creationId xmlns:a16="http://schemas.microsoft.com/office/drawing/2014/main" id="{77A34415-92FC-3E60-F862-8A5F0F43F0DC}"/>
              </a:ext>
            </a:extLst>
          </p:cNvPr>
          <p:cNvSpPr/>
          <p:nvPr/>
        </p:nvSpPr>
        <p:spPr bwMode="gray">
          <a:xfrm rot="5400000">
            <a:off x="5066682" y="2774870"/>
            <a:ext cx="692798" cy="692798"/>
          </a:xfrm>
          <a:prstGeom prst="rtTriangle">
            <a:avLst/>
          </a:prstGeom>
          <a:solidFill>
            <a:srgbClr val="FFC620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9" name="Right Triangle 89">
            <a:extLst>
              <a:ext uri="{FF2B5EF4-FFF2-40B4-BE49-F238E27FC236}">
                <a16:creationId xmlns:a16="http://schemas.microsoft.com/office/drawing/2014/main" id="{B618BDAD-E722-2BE7-E9D6-427147FAA615}"/>
              </a:ext>
            </a:extLst>
          </p:cNvPr>
          <p:cNvSpPr/>
          <p:nvPr/>
        </p:nvSpPr>
        <p:spPr bwMode="gray">
          <a:xfrm rot="10800000">
            <a:off x="6401324" y="2774875"/>
            <a:ext cx="692798" cy="692798"/>
          </a:xfrm>
          <a:prstGeom prst="rtTriangle">
            <a:avLst/>
          </a:prstGeom>
          <a:solidFill>
            <a:srgbClr val="00257C"/>
          </a:solidFill>
          <a:ln w="19050" algn="ctr">
            <a:solidFill>
              <a:srgbClr val="00257C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0" name="Right Triangle 90">
            <a:extLst>
              <a:ext uri="{FF2B5EF4-FFF2-40B4-BE49-F238E27FC236}">
                <a16:creationId xmlns:a16="http://schemas.microsoft.com/office/drawing/2014/main" id="{92849FA7-82EF-1391-8230-8AC3EFD9D4FE}"/>
              </a:ext>
            </a:extLst>
          </p:cNvPr>
          <p:cNvSpPr/>
          <p:nvPr/>
        </p:nvSpPr>
        <p:spPr bwMode="gray">
          <a:xfrm>
            <a:off x="5066675" y="4048597"/>
            <a:ext cx="692798" cy="692798"/>
          </a:xfrm>
          <a:prstGeom prst="rtTriangle">
            <a:avLst/>
          </a:prstGeom>
          <a:solidFill>
            <a:srgbClr val="00257C"/>
          </a:solidFill>
          <a:ln w="19050" algn="ctr">
            <a:solidFill>
              <a:srgbClr val="00257C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1" name="Right Triangle 91">
            <a:extLst>
              <a:ext uri="{FF2B5EF4-FFF2-40B4-BE49-F238E27FC236}">
                <a16:creationId xmlns:a16="http://schemas.microsoft.com/office/drawing/2014/main" id="{C773B1AB-18FC-0479-C3DC-A34E5407A70D}"/>
              </a:ext>
            </a:extLst>
          </p:cNvPr>
          <p:cNvSpPr/>
          <p:nvPr/>
        </p:nvSpPr>
        <p:spPr bwMode="gray">
          <a:xfrm rot="16200000">
            <a:off x="6401330" y="4048591"/>
            <a:ext cx="692798" cy="692798"/>
          </a:xfrm>
          <a:prstGeom prst="rtTriangle">
            <a:avLst/>
          </a:prstGeom>
          <a:solidFill>
            <a:srgbClr val="FFC620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2" name="Rectangle 96">
            <a:extLst>
              <a:ext uri="{FF2B5EF4-FFF2-40B4-BE49-F238E27FC236}">
                <a16:creationId xmlns:a16="http://schemas.microsoft.com/office/drawing/2014/main" id="{3E72D654-6123-B739-A945-B77EA2542F79}"/>
              </a:ext>
            </a:extLst>
          </p:cNvPr>
          <p:cNvSpPr/>
          <p:nvPr/>
        </p:nvSpPr>
        <p:spPr bwMode="gray">
          <a:xfrm>
            <a:off x="1947196" y="1458809"/>
            <a:ext cx="8297609" cy="464848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algn="ctr" defTabSz="913686"/>
            <a:endParaRPr lang="en-US" sz="12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ctangle 97">
            <a:extLst>
              <a:ext uri="{FF2B5EF4-FFF2-40B4-BE49-F238E27FC236}">
                <a16:creationId xmlns:a16="http://schemas.microsoft.com/office/drawing/2014/main" id="{35ECC393-46B8-3A70-0689-AEE2F51AD70A}"/>
              </a:ext>
            </a:extLst>
          </p:cNvPr>
          <p:cNvSpPr/>
          <p:nvPr/>
        </p:nvSpPr>
        <p:spPr bwMode="gray">
          <a:xfrm rot="18900000">
            <a:off x="5404652" y="3090705"/>
            <a:ext cx="1373849" cy="1373847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4" name="Rectangle 98">
            <a:extLst>
              <a:ext uri="{FF2B5EF4-FFF2-40B4-BE49-F238E27FC236}">
                <a16:creationId xmlns:a16="http://schemas.microsoft.com/office/drawing/2014/main" id="{2FD71A56-F1E0-5142-4F07-34FEEC223B51}"/>
              </a:ext>
            </a:extLst>
          </p:cNvPr>
          <p:cNvSpPr/>
          <p:nvPr/>
        </p:nvSpPr>
        <p:spPr bwMode="gray">
          <a:xfrm rot="18900000">
            <a:off x="5407296" y="3089757"/>
            <a:ext cx="1373849" cy="1373847"/>
          </a:xfrm>
          <a:prstGeom prst="rect">
            <a:avLst/>
          </a:prstGeom>
          <a:solidFill>
            <a:srgbClr val="00257C"/>
          </a:solidFill>
          <a:ln w="19050" algn="ctr">
            <a:solidFill>
              <a:srgbClr val="FFC620"/>
            </a:solidFill>
            <a:miter lim="800000"/>
            <a:headEnd/>
            <a:tailEnd/>
          </a:ln>
        </p:spPr>
        <p:txBody>
          <a:bodyPr wrap="square" lIns="88830" tIns="88830" rIns="88830" bIns="88830" rtlCol="0" anchor="ctr"/>
          <a:lstStyle/>
          <a:p>
            <a:pPr marL="0" marR="0" lvl="0" indent="0" algn="ctr" defTabSz="9136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9" name="Freeform 743">
            <a:extLst>
              <a:ext uri="{FF2B5EF4-FFF2-40B4-BE49-F238E27FC236}">
                <a16:creationId xmlns:a16="http://schemas.microsoft.com/office/drawing/2014/main" id="{79D69ECE-13B9-38DE-11AD-8088A96BE7D0}"/>
              </a:ext>
            </a:extLst>
          </p:cNvPr>
          <p:cNvSpPr>
            <a:spLocks noEditPoints="1"/>
          </p:cNvSpPr>
          <p:nvPr/>
        </p:nvSpPr>
        <p:spPr bwMode="auto">
          <a:xfrm>
            <a:off x="5128953" y="2845127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Freeform 362">
            <a:extLst>
              <a:ext uri="{FF2B5EF4-FFF2-40B4-BE49-F238E27FC236}">
                <a16:creationId xmlns:a16="http://schemas.microsoft.com/office/drawing/2014/main" id="{2B5F8821-3B8B-99BC-7E36-CB07910C6C46}"/>
              </a:ext>
            </a:extLst>
          </p:cNvPr>
          <p:cNvSpPr>
            <a:spLocks noEditPoints="1"/>
          </p:cNvSpPr>
          <p:nvPr/>
        </p:nvSpPr>
        <p:spPr bwMode="auto">
          <a:xfrm>
            <a:off x="6758046" y="2845128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5" name="Freeform 910">
            <a:extLst>
              <a:ext uri="{FF2B5EF4-FFF2-40B4-BE49-F238E27FC236}">
                <a16:creationId xmlns:a16="http://schemas.microsoft.com/office/drawing/2014/main" id="{1987BF6F-2737-B851-EC87-CDF30B591B00}"/>
              </a:ext>
            </a:extLst>
          </p:cNvPr>
          <p:cNvSpPr>
            <a:spLocks noEditPoints="1"/>
          </p:cNvSpPr>
          <p:nvPr/>
        </p:nvSpPr>
        <p:spPr bwMode="auto">
          <a:xfrm>
            <a:off x="5117475" y="4365978"/>
            <a:ext cx="269845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9" name="Freeform 659">
            <a:extLst>
              <a:ext uri="{FF2B5EF4-FFF2-40B4-BE49-F238E27FC236}">
                <a16:creationId xmlns:a16="http://schemas.microsoft.com/office/drawing/2014/main" id="{37CD460C-4062-5C8C-88A4-3BF42659AA00}"/>
              </a:ext>
            </a:extLst>
          </p:cNvPr>
          <p:cNvSpPr>
            <a:spLocks noEditPoints="1"/>
          </p:cNvSpPr>
          <p:nvPr/>
        </p:nvSpPr>
        <p:spPr bwMode="auto">
          <a:xfrm>
            <a:off x="6786632" y="4368870"/>
            <a:ext cx="269054" cy="269845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DEBE6BC-8C49-6082-A908-07B89E4782E8}"/>
              </a:ext>
            </a:extLst>
          </p:cNvPr>
          <p:cNvGrpSpPr/>
          <p:nvPr/>
        </p:nvGrpSpPr>
        <p:grpSpPr>
          <a:xfrm>
            <a:off x="5025232" y="1695911"/>
            <a:ext cx="773112" cy="773112"/>
            <a:chOff x="5025232" y="1695911"/>
            <a:chExt cx="773112" cy="773112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AEB6ED87-F39C-C26E-B2E8-B0E28D07AF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19363" y="199004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5" name="Grafik 74">
              <a:extLst>
                <a:ext uri="{FF2B5EF4-FFF2-40B4-BE49-F238E27FC236}">
                  <a16:creationId xmlns:a16="http://schemas.microsoft.com/office/drawing/2014/main" id="{6DE49B82-493D-CBE2-969A-AD2150A9F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5232" y="1695911"/>
              <a:ext cx="773112" cy="773112"/>
            </a:xfrm>
            <a:prstGeom prst="rect">
              <a:avLst/>
            </a:prstGeom>
          </p:spPr>
        </p:pic>
      </p:grpSp>
      <p:sp>
        <p:nvSpPr>
          <p:cNvPr id="79" name="Ellipse 78">
            <a:extLst>
              <a:ext uri="{FF2B5EF4-FFF2-40B4-BE49-F238E27FC236}">
                <a16:creationId xmlns:a16="http://schemas.microsoft.com/office/drawing/2014/main" id="{BC72CD08-09EE-46C5-B992-950688D2D742}"/>
              </a:ext>
            </a:extLst>
          </p:cNvPr>
          <p:cNvSpPr>
            <a:spLocks noChangeAspect="1"/>
          </p:cNvSpPr>
          <p:nvPr/>
        </p:nvSpPr>
        <p:spPr>
          <a:xfrm>
            <a:off x="6662118" y="2224985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F0C84DB8-598B-AA11-1C06-8FF4378915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987" y="1695911"/>
            <a:ext cx="773112" cy="773112"/>
          </a:xfrm>
          <a:prstGeom prst="rect">
            <a:avLst/>
          </a:prstGeom>
        </p:spPr>
      </p:pic>
      <p:sp>
        <p:nvSpPr>
          <p:cNvPr id="89" name="Ellipse 88">
            <a:extLst>
              <a:ext uri="{FF2B5EF4-FFF2-40B4-BE49-F238E27FC236}">
                <a16:creationId xmlns:a16="http://schemas.microsoft.com/office/drawing/2014/main" id="{74FCFBB7-C32D-1817-9FC5-76FFCA3A4FB7}"/>
              </a:ext>
            </a:extLst>
          </p:cNvPr>
          <p:cNvSpPr>
            <a:spLocks noChangeAspect="1"/>
          </p:cNvSpPr>
          <p:nvPr/>
        </p:nvSpPr>
        <p:spPr>
          <a:xfrm>
            <a:off x="6662118" y="5576233"/>
            <a:ext cx="184850" cy="184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id="{93227EF4-B94E-3FC2-B247-68B2F669A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987" y="5047159"/>
            <a:ext cx="773112" cy="773112"/>
          </a:xfrm>
          <a:prstGeom prst="rect">
            <a:avLst/>
          </a:prstGeom>
        </p:spPr>
      </p:pic>
      <p:sp>
        <p:nvSpPr>
          <p:cNvPr id="11" name="TextBox 99">
            <a:extLst>
              <a:ext uri="{FF2B5EF4-FFF2-40B4-BE49-F238E27FC236}">
                <a16:creationId xmlns:a16="http://schemas.microsoft.com/office/drawing/2014/main" id="{DBCB7BA0-7D76-FC47-30FA-B51F76482917}"/>
              </a:ext>
            </a:extLst>
          </p:cNvPr>
          <p:cNvSpPr txBox="1"/>
          <p:nvPr/>
        </p:nvSpPr>
        <p:spPr>
          <a:xfrm>
            <a:off x="5496603" y="3680435"/>
            <a:ext cx="1189945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686">
              <a:buSzPct val="100000"/>
            </a:pPr>
            <a:r>
              <a:rPr lang="en-US" sz="1300" b="1" dirty="0" err="1">
                <a:solidFill>
                  <a:schemeClr val="bg1"/>
                </a:solidFill>
                <a:latin typeface="Calibri"/>
              </a:rPr>
              <a:t>Nicht-Ziele</a:t>
            </a:r>
            <a:endParaRPr lang="en-US" sz="1300" b="1" dirty="0">
              <a:solidFill>
                <a:schemeClr val="bg1"/>
              </a:solidFill>
              <a:latin typeface="Calibri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8B72D1E-408C-E202-0398-F5399801FD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2622" y="2895890"/>
            <a:ext cx="174801" cy="17480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C4C30C6-FB24-C835-AC45-D6E317429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73" y="2895890"/>
            <a:ext cx="180280" cy="18028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F57144B8-5DEE-90AE-D966-C747A55BBE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434" y="4404872"/>
            <a:ext cx="177682" cy="177682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685D74B2-3FC2-6981-1EC5-7C4FEE878E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777" y="4423578"/>
            <a:ext cx="163516" cy="163516"/>
          </a:xfrm>
          <a:prstGeom prst="rect">
            <a:avLst/>
          </a:prstGeom>
        </p:spPr>
      </p:pic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A1B88091-9254-6899-A4FA-D92B0CBC7B2F}"/>
              </a:ext>
            </a:extLst>
          </p:cNvPr>
          <p:cNvGrpSpPr/>
          <p:nvPr/>
        </p:nvGrpSpPr>
        <p:grpSpPr>
          <a:xfrm>
            <a:off x="5025232" y="1695911"/>
            <a:ext cx="773112" cy="773112"/>
            <a:chOff x="86282" y="3384241"/>
            <a:chExt cx="773112" cy="773112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1124DA85-BCD9-39EC-78A7-C3E6F0D30A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04B7D291-F154-0866-88D0-EA1351F61B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A72803A5-AD83-07EC-5853-B72EB2824F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C127049D-E3C9-0C74-8809-8C5B0CA6C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A4929E69-363B-8EA8-7585-BFAD3771B729}"/>
              </a:ext>
            </a:extLst>
          </p:cNvPr>
          <p:cNvGrpSpPr/>
          <p:nvPr/>
        </p:nvGrpSpPr>
        <p:grpSpPr>
          <a:xfrm>
            <a:off x="5025232" y="5047159"/>
            <a:ext cx="773112" cy="773112"/>
            <a:chOff x="86282" y="3384241"/>
            <a:chExt cx="773112" cy="773112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69C2FCC9-5447-28FF-55D4-1D73EE0520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4ABBF201-4F00-A386-7166-EEE422F177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22E8C02-1CDA-A8DF-3251-25BE64F1F1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26C8C80B-B8FC-01D4-5E77-81D581FA2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706A047F-61B6-E722-E679-0CB4FFF76647}"/>
              </a:ext>
            </a:extLst>
          </p:cNvPr>
          <p:cNvGrpSpPr/>
          <p:nvPr/>
        </p:nvGrpSpPr>
        <p:grpSpPr>
          <a:xfrm>
            <a:off x="6367987" y="5047159"/>
            <a:ext cx="773112" cy="773112"/>
            <a:chOff x="86282" y="3384241"/>
            <a:chExt cx="773112" cy="773112"/>
          </a:xfrm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7100BD95-D4C0-D708-2569-30CEA99283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D72652EF-5416-AEFE-6983-1A91012269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EB2E9A20-4577-C6FC-0D29-6225BE4593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7" name="Grafik 66">
              <a:extLst>
                <a:ext uri="{FF2B5EF4-FFF2-40B4-BE49-F238E27FC236}">
                  <a16:creationId xmlns:a16="http://schemas.microsoft.com/office/drawing/2014/main" id="{A1C60107-3480-CA6A-3EF8-D7A7A0034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F1E6DAED-45FA-D5AE-4393-FDA7790A3C17}"/>
              </a:ext>
            </a:extLst>
          </p:cNvPr>
          <p:cNvGrpSpPr/>
          <p:nvPr/>
        </p:nvGrpSpPr>
        <p:grpSpPr>
          <a:xfrm>
            <a:off x="6367987" y="1695911"/>
            <a:ext cx="773112" cy="773112"/>
            <a:chOff x="86282" y="3384241"/>
            <a:chExt cx="773112" cy="773112"/>
          </a:xfrm>
        </p:grpSpPr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92C7DE94-FCDE-D634-E7F2-E29B195FD2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678372"/>
              <a:ext cx="184850" cy="18485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4B4E0084-FB4B-5384-B345-0DF09DC802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446029"/>
              <a:ext cx="184850" cy="18485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5FB1CB81-6379-72B9-F628-9F3399CE35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413" y="3913315"/>
              <a:ext cx="184850" cy="18485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EEA31AAA-E934-8677-5AEE-EAC13619B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2" y="3384241"/>
              <a:ext cx="773112" cy="7731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09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4998D7-4871-0A0A-E516-6EFD602491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EB1502-A7C1-8831-9DF9-B0BFB09A1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1475"/>
            <a:ext cx="10515600" cy="1325563"/>
          </a:xfrm>
        </p:spPr>
        <p:txBody>
          <a:bodyPr>
            <a:normAutofit/>
          </a:bodyPr>
          <a:lstStyle/>
          <a:p>
            <a:r>
              <a:rPr lang="de-DE" cap="small" dirty="0"/>
              <a:t>Zeitmanagement und Erfüllung der Meilenste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3339B25-4002-B932-6654-1CE618476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4D084C-6BFC-2888-31A2-DAE2D175F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149C65-D4E4-C88E-AA2F-8FD473C96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3</a:t>
            </a:r>
          </a:p>
        </p:txBody>
      </p:sp>
      <p:cxnSp>
        <p:nvCxnSpPr>
          <p:cNvPr id="3" name="直接连接符 5">
            <a:extLst>
              <a:ext uri="{FF2B5EF4-FFF2-40B4-BE49-F238E27FC236}">
                <a16:creationId xmlns:a16="http://schemas.microsoft.com/office/drawing/2014/main" id="{F03BC1E2-B31A-9F66-334C-0FC6A621EB9A}"/>
              </a:ext>
            </a:extLst>
          </p:cNvPr>
          <p:cNvCxnSpPr>
            <a:cxnSpLocks/>
          </p:cNvCxnSpPr>
          <p:nvPr/>
        </p:nvCxnSpPr>
        <p:spPr>
          <a:xfrm>
            <a:off x="947738" y="3882270"/>
            <a:ext cx="10296525" cy="0"/>
          </a:xfrm>
          <a:prstGeom prst="line">
            <a:avLst/>
          </a:prstGeom>
          <a:noFill/>
          <a:ln w="19050" cap="flat" cmpd="sng" algn="ctr">
            <a:solidFill>
              <a:srgbClr val="FFC620"/>
            </a:solidFill>
            <a:prstDash val="solid"/>
            <a:headEnd type="oval"/>
            <a:tailEnd type="oval"/>
          </a:ln>
          <a:effectLst/>
        </p:spPr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FA4C6B38-FA5B-CA76-F3EB-9D3F469CFC14}"/>
              </a:ext>
            </a:extLst>
          </p:cNvPr>
          <p:cNvGrpSpPr/>
          <p:nvPr/>
        </p:nvGrpSpPr>
        <p:grpSpPr>
          <a:xfrm>
            <a:off x="1048443" y="1862110"/>
            <a:ext cx="2873671" cy="2139470"/>
            <a:chOff x="1048443" y="1922780"/>
            <a:chExt cx="2873671" cy="2139470"/>
          </a:xfrm>
        </p:grpSpPr>
        <p:cxnSp>
          <p:nvCxnSpPr>
            <p:cNvPr id="24" name="Straight Connector 154">
              <a:extLst>
                <a:ext uri="{FF2B5EF4-FFF2-40B4-BE49-F238E27FC236}">
                  <a16:creationId xmlns:a16="http://schemas.microsoft.com/office/drawing/2014/main" id="{12FF1D83-553B-FA18-443B-6CC63AE68437}"/>
                </a:ext>
              </a:extLst>
            </p:cNvPr>
            <p:cNvCxnSpPr/>
            <p:nvPr/>
          </p:nvCxnSpPr>
          <p:spPr>
            <a:xfrm flipV="1">
              <a:off x="1286861" y="2296632"/>
              <a:ext cx="1" cy="1574722"/>
            </a:xfrm>
            <a:prstGeom prst="line">
              <a:avLst/>
            </a:prstGeom>
            <a:noFill/>
            <a:ln w="19050" cap="rnd" cmpd="sng" algn="ctr">
              <a:solidFill>
                <a:srgbClr val="00257C"/>
              </a:solidFill>
              <a:prstDash val="sysDot"/>
            </a:ln>
            <a:effectLst/>
          </p:spPr>
        </p:cxnSp>
        <p:sp>
          <p:nvSpPr>
            <p:cNvPr id="7" name="椭圆 30">
              <a:extLst>
                <a:ext uri="{FF2B5EF4-FFF2-40B4-BE49-F238E27FC236}">
                  <a16:creationId xmlns:a16="http://schemas.microsoft.com/office/drawing/2014/main" id="{5AE12241-EE53-0DC0-DDB2-2AD356E6B796}"/>
                </a:ext>
              </a:extLst>
            </p:cNvPr>
            <p:cNvSpPr/>
            <p:nvPr/>
          </p:nvSpPr>
          <p:spPr bwMode="gray">
            <a:xfrm>
              <a:off x="1167549" y="3823629"/>
              <a:ext cx="238621" cy="238621"/>
            </a:xfrm>
            <a:prstGeom prst="ellipse">
              <a:avLst/>
            </a:prstGeom>
            <a:solidFill>
              <a:sysClr val="window" lastClr="FFFFFF"/>
            </a:solidFill>
            <a:ln w="28575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" name="Rounded Rectangle 136">
              <a:extLst>
                <a:ext uri="{FF2B5EF4-FFF2-40B4-BE49-F238E27FC236}">
                  <a16:creationId xmlns:a16="http://schemas.microsoft.com/office/drawing/2014/main" id="{977A0A6A-2D87-A55D-ACB3-58CF5B3E0A2E}"/>
                </a:ext>
              </a:extLst>
            </p:cNvPr>
            <p:cNvSpPr/>
            <p:nvPr/>
          </p:nvSpPr>
          <p:spPr>
            <a:xfrm>
              <a:off x="1101753" y="1922780"/>
              <a:ext cx="2820361" cy="380134"/>
            </a:xfrm>
            <a:prstGeom prst="roundRect">
              <a:avLst>
                <a:gd name="adj" fmla="val 50000"/>
              </a:avLst>
            </a:prstGeom>
            <a:solidFill>
              <a:srgbClr val="00257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. </a:t>
              </a:r>
              <a:r>
                <a:rPr kumimoji="0" lang="en-GB" sz="13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ensuche</a:t>
              </a: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Oval 137">
              <a:extLst>
                <a:ext uri="{FF2B5EF4-FFF2-40B4-BE49-F238E27FC236}">
                  <a16:creationId xmlns:a16="http://schemas.microsoft.com/office/drawing/2014/main" id="{70E56405-99FE-1E76-2123-7055DF0E7FFA}"/>
                </a:ext>
              </a:extLst>
            </p:cNvPr>
            <p:cNvSpPr/>
            <p:nvPr/>
          </p:nvSpPr>
          <p:spPr>
            <a:xfrm>
              <a:off x="1154659" y="1980647"/>
              <a:ext cx="264404" cy="26440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val 138">
              <a:extLst>
                <a:ext uri="{FF2B5EF4-FFF2-40B4-BE49-F238E27FC236}">
                  <a16:creationId xmlns:a16="http://schemas.microsoft.com/office/drawing/2014/main" id="{C5C72F30-C4BE-7121-C26D-632B5CB2EC80}"/>
                </a:ext>
              </a:extLst>
            </p:cNvPr>
            <p:cNvSpPr/>
            <p:nvPr/>
          </p:nvSpPr>
          <p:spPr>
            <a:xfrm>
              <a:off x="1195956" y="2021944"/>
              <a:ext cx="181810" cy="181810"/>
            </a:xfrm>
            <a:prstGeom prst="ellipse">
              <a:avLst/>
            </a:prstGeom>
            <a:solidFill>
              <a:srgbClr val="FFC62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160">
              <a:extLst>
                <a:ext uri="{FF2B5EF4-FFF2-40B4-BE49-F238E27FC236}">
                  <a16:creationId xmlns:a16="http://schemas.microsoft.com/office/drawing/2014/main" id="{83239B32-D836-7503-5340-002E97EC49FB}"/>
                </a:ext>
              </a:extLst>
            </p:cNvPr>
            <p:cNvSpPr/>
            <p:nvPr/>
          </p:nvSpPr>
          <p:spPr>
            <a:xfrm>
              <a:off x="1367600" y="2463107"/>
              <a:ext cx="2554513" cy="1200329"/>
            </a:xfrm>
            <a:prstGeom prst="rect">
              <a:avLst/>
            </a:prstGeom>
          </p:spPr>
          <p:txBody>
            <a:bodyPr wrap="square" lIns="18288" tIns="0" rIns="18288" bIns="0">
              <a:spAutoFit/>
            </a:bodyPr>
            <a:lstStyle/>
            <a:p>
              <a:pPr>
                <a:defRPr/>
              </a:pP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Definition der thematischen Ausrichtung und der Untersuchungs-</a:t>
              </a:r>
              <a:r>
                <a:rPr lang="de-DE" sz="1300" noProof="0" dirty="0" err="1">
                  <a:solidFill>
                    <a:prstClr val="black"/>
                  </a:solidFill>
                  <a:latin typeface="Calibri"/>
                </a:rPr>
                <a:t>schwerpunkte</a:t>
              </a: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 sowie die systematische Identifikation, Bewertung und Beschaffung geeigneter Datensätze.</a:t>
              </a:r>
            </a:p>
          </p:txBody>
        </p:sp>
        <p:sp>
          <p:nvSpPr>
            <p:cNvPr id="12" name="椭圆 28">
              <a:extLst>
                <a:ext uri="{FF2B5EF4-FFF2-40B4-BE49-F238E27FC236}">
                  <a16:creationId xmlns:a16="http://schemas.microsoft.com/office/drawing/2014/main" id="{5F029F6B-3B88-5412-62C8-65143B30CB78}"/>
                </a:ext>
              </a:extLst>
            </p:cNvPr>
            <p:cNvSpPr/>
            <p:nvPr/>
          </p:nvSpPr>
          <p:spPr bwMode="gray">
            <a:xfrm>
              <a:off x="1215273" y="3871354"/>
              <a:ext cx="143173" cy="143173"/>
            </a:xfrm>
            <a:prstGeom prst="ellipse">
              <a:avLst/>
            </a:prstGeom>
            <a:solidFill>
              <a:sysClr val="window" lastClr="FFFFFF"/>
            </a:solidFill>
            <a:ln w="19050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" name="Rectangle 167">
              <a:extLst>
                <a:ext uri="{FF2B5EF4-FFF2-40B4-BE49-F238E27FC236}">
                  <a16:creationId xmlns:a16="http://schemas.microsoft.com/office/drawing/2014/main" id="{941DEF3A-1401-41DD-7776-F54A738BD585}"/>
                </a:ext>
              </a:extLst>
            </p:cNvPr>
            <p:cNvSpPr/>
            <p:nvPr/>
          </p:nvSpPr>
          <p:spPr>
            <a:xfrm rot="16200000">
              <a:off x="588629" y="2983625"/>
              <a:ext cx="1119683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300" b="1" dirty="0">
                  <a:solidFill>
                    <a:srgbClr val="00257C"/>
                  </a:solidFill>
                  <a:latin typeface="Calibri"/>
                </a:rPr>
                <a:t>23. Mai 2025</a:t>
              </a:r>
              <a:endParaRPr lang="en-US" sz="1300" dirty="0">
                <a:solidFill>
                  <a:srgbClr val="00257C"/>
                </a:solidFill>
                <a:latin typeface="Calibri"/>
              </a:endParaRP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91D5A42E-9407-6F9B-853F-F4F847C44CC9}"/>
              </a:ext>
            </a:extLst>
          </p:cNvPr>
          <p:cNvGrpSpPr/>
          <p:nvPr/>
        </p:nvGrpSpPr>
        <p:grpSpPr>
          <a:xfrm>
            <a:off x="5795340" y="1862110"/>
            <a:ext cx="2873671" cy="2139470"/>
            <a:chOff x="4709042" y="1922780"/>
            <a:chExt cx="2873671" cy="2139470"/>
          </a:xfrm>
        </p:grpSpPr>
        <p:cxnSp>
          <p:nvCxnSpPr>
            <p:cNvPr id="26" name="Straight Connector 154">
              <a:extLst>
                <a:ext uri="{FF2B5EF4-FFF2-40B4-BE49-F238E27FC236}">
                  <a16:creationId xmlns:a16="http://schemas.microsoft.com/office/drawing/2014/main" id="{B40762CC-BD0E-BC70-3182-EC9EEF6A6CC6}"/>
                </a:ext>
              </a:extLst>
            </p:cNvPr>
            <p:cNvCxnSpPr/>
            <p:nvPr/>
          </p:nvCxnSpPr>
          <p:spPr>
            <a:xfrm flipV="1">
              <a:off x="4947459" y="2296632"/>
              <a:ext cx="1" cy="1574722"/>
            </a:xfrm>
            <a:prstGeom prst="line">
              <a:avLst/>
            </a:prstGeom>
            <a:noFill/>
            <a:ln w="19050" cap="rnd" cmpd="sng" algn="ctr">
              <a:solidFill>
                <a:srgbClr val="00257C"/>
              </a:solidFill>
              <a:prstDash val="sysDot"/>
            </a:ln>
            <a:effectLst/>
          </p:spPr>
        </p:cxnSp>
        <p:sp>
          <p:nvSpPr>
            <p:cNvPr id="13" name="椭圆 45">
              <a:extLst>
                <a:ext uri="{FF2B5EF4-FFF2-40B4-BE49-F238E27FC236}">
                  <a16:creationId xmlns:a16="http://schemas.microsoft.com/office/drawing/2014/main" id="{1909180E-7CD3-6864-2D0D-AC3B39BB4C69}"/>
                </a:ext>
              </a:extLst>
            </p:cNvPr>
            <p:cNvSpPr/>
            <p:nvPr/>
          </p:nvSpPr>
          <p:spPr bwMode="gray">
            <a:xfrm>
              <a:off x="4828147" y="3823629"/>
              <a:ext cx="238621" cy="238621"/>
            </a:xfrm>
            <a:prstGeom prst="ellipse">
              <a:avLst/>
            </a:prstGeom>
            <a:solidFill>
              <a:sysClr val="window" lastClr="FFFFFF"/>
            </a:solidFill>
            <a:ln w="28575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4" name="Rounded Rectangle 136">
              <a:extLst>
                <a:ext uri="{FF2B5EF4-FFF2-40B4-BE49-F238E27FC236}">
                  <a16:creationId xmlns:a16="http://schemas.microsoft.com/office/drawing/2014/main" id="{3692BFB1-4B48-11D2-BA5B-A4679E11224B}"/>
                </a:ext>
              </a:extLst>
            </p:cNvPr>
            <p:cNvSpPr/>
            <p:nvPr/>
          </p:nvSpPr>
          <p:spPr>
            <a:xfrm>
              <a:off x="4762352" y="1922780"/>
              <a:ext cx="2820361" cy="380134"/>
            </a:xfrm>
            <a:prstGeom prst="roundRect">
              <a:avLst>
                <a:gd name="adj" fmla="val 50000"/>
              </a:avLst>
            </a:prstGeom>
            <a:solidFill>
              <a:srgbClr val="00257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3. </a:t>
              </a:r>
              <a:r>
                <a:rPr kumimoji="0" lang="en-GB" sz="13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okumentation</a:t>
              </a: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Storytelling)</a:t>
              </a: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137">
              <a:extLst>
                <a:ext uri="{FF2B5EF4-FFF2-40B4-BE49-F238E27FC236}">
                  <a16:creationId xmlns:a16="http://schemas.microsoft.com/office/drawing/2014/main" id="{0EBEF320-38CF-8033-1F12-CFCE13A95698}"/>
                </a:ext>
              </a:extLst>
            </p:cNvPr>
            <p:cNvSpPr/>
            <p:nvPr/>
          </p:nvSpPr>
          <p:spPr>
            <a:xfrm>
              <a:off x="4815258" y="1980647"/>
              <a:ext cx="264404" cy="26440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val 138">
              <a:extLst>
                <a:ext uri="{FF2B5EF4-FFF2-40B4-BE49-F238E27FC236}">
                  <a16:creationId xmlns:a16="http://schemas.microsoft.com/office/drawing/2014/main" id="{615E4349-E204-D5EF-7DF5-3088947F9425}"/>
                </a:ext>
              </a:extLst>
            </p:cNvPr>
            <p:cNvSpPr/>
            <p:nvPr/>
          </p:nvSpPr>
          <p:spPr>
            <a:xfrm>
              <a:off x="4856555" y="2021944"/>
              <a:ext cx="181810" cy="181810"/>
            </a:xfrm>
            <a:prstGeom prst="ellipse">
              <a:avLst/>
            </a:prstGeom>
            <a:solidFill>
              <a:srgbClr val="FFC62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ectangle 160">
              <a:extLst>
                <a:ext uri="{FF2B5EF4-FFF2-40B4-BE49-F238E27FC236}">
                  <a16:creationId xmlns:a16="http://schemas.microsoft.com/office/drawing/2014/main" id="{823F701F-A7E5-B7CA-4F10-BBB61E1DFF49}"/>
                </a:ext>
              </a:extLst>
            </p:cNvPr>
            <p:cNvSpPr/>
            <p:nvPr/>
          </p:nvSpPr>
          <p:spPr>
            <a:xfrm>
              <a:off x="5066767" y="2463107"/>
              <a:ext cx="2515941" cy="1200329"/>
            </a:xfrm>
            <a:prstGeom prst="rect">
              <a:avLst/>
            </a:prstGeom>
          </p:spPr>
          <p:txBody>
            <a:bodyPr wrap="square" lIns="18288" tIns="0" rIns="18288" bIns="0">
              <a:spAutoFit/>
            </a:bodyPr>
            <a:lstStyle/>
            <a:p>
              <a:pPr>
                <a:defRPr/>
              </a:pP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Analyseergebnisse wurden in eine schlüssige Argumentationsstruktur überführt. Ziel war es, eine nachvoll-</a:t>
              </a:r>
              <a:r>
                <a:rPr lang="de-DE" sz="1300" noProof="0" dirty="0" err="1">
                  <a:solidFill>
                    <a:prstClr val="black"/>
                  </a:solidFill>
                  <a:latin typeface="Calibri"/>
                </a:rPr>
                <a:t>ziehbare</a:t>
              </a: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 und zielgerichtete Datastory als Grundlage für die spätere Präsentation zu erzeugen.</a:t>
              </a:r>
            </a:p>
          </p:txBody>
        </p:sp>
        <p:sp>
          <p:nvSpPr>
            <p:cNvPr id="18" name="椭圆 53">
              <a:extLst>
                <a:ext uri="{FF2B5EF4-FFF2-40B4-BE49-F238E27FC236}">
                  <a16:creationId xmlns:a16="http://schemas.microsoft.com/office/drawing/2014/main" id="{52E0242A-A67B-2900-9B96-685478B5CB6A}"/>
                </a:ext>
              </a:extLst>
            </p:cNvPr>
            <p:cNvSpPr/>
            <p:nvPr/>
          </p:nvSpPr>
          <p:spPr bwMode="gray">
            <a:xfrm>
              <a:off x="4875872" y="3871354"/>
              <a:ext cx="143173" cy="143173"/>
            </a:xfrm>
            <a:prstGeom prst="ellipse">
              <a:avLst/>
            </a:prstGeom>
            <a:solidFill>
              <a:sysClr val="window" lastClr="FFFFFF"/>
            </a:solidFill>
            <a:ln w="19050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Rectangle 167">
              <a:extLst>
                <a:ext uri="{FF2B5EF4-FFF2-40B4-BE49-F238E27FC236}">
                  <a16:creationId xmlns:a16="http://schemas.microsoft.com/office/drawing/2014/main" id="{BB4F2F18-AA0A-CD5E-5405-0080B61D1EE1}"/>
                </a:ext>
              </a:extLst>
            </p:cNvPr>
            <p:cNvSpPr/>
            <p:nvPr/>
          </p:nvSpPr>
          <p:spPr>
            <a:xfrm rot="16200000">
              <a:off x="4249228" y="2983625"/>
              <a:ext cx="1119683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300" b="1" dirty="0">
                  <a:solidFill>
                    <a:srgbClr val="00257C"/>
                  </a:solidFill>
                  <a:latin typeface="Calibri"/>
                </a:rPr>
                <a:t>04. Juli 2025</a:t>
              </a:r>
              <a:endParaRPr lang="en-US" sz="1300" dirty="0">
                <a:solidFill>
                  <a:srgbClr val="00257C"/>
                </a:solidFill>
                <a:latin typeface="Calibri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3E929AB7-09A8-5DB9-0C46-FB8D2F9DCA67}"/>
              </a:ext>
            </a:extLst>
          </p:cNvPr>
          <p:cNvGrpSpPr/>
          <p:nvPr/>
        </p:nvGrpSpPr>
        <p:grpSpPr>
          <a:xfrm>
            <a:off x="3421892" y="3762959"/>
            <a:ext cx="2873670" cy="2243521"/>
            <a:chOff x="3421892" y="3762959"/>
            <a:chExt cx="2873670" cy="2243521"/>
          </a:xfrm>
        </p:grpSpPr>
        <p:cxnSp>
          <p:nvCxnSpPr>
            <p:cNvPr id="42" name="Straight Connector 154">
              <a:extLst>
                <a:ext uri="{FF2B5EF4-FFF2-40B4-BE49-F238E27FC236}">
                  <a16:creationId xmlns:a16="http://schemas.microsoft.com/office/drawing/2014/main" id="{6E7FCDD6-A32B-3AEF-D3A1-02783EA3A251}"/>
                </a:ext>
              </a:extLst>
            </p:cNvPr>
            <p:cNvCxnSpPr>
              <a:cxnSpLocks/>
              <a:stCxn id="33" idx="0"/>
            </p:cNvCxnSpPr>
            <p:nvPr/>
          </p:nvCxnSpPr>
          <p:spPr>
            <a:xfrm flipV="1">
              <a:off x="3660309" y="3916178"/>
              <a:ext cx="0" cy="1768035"/>
            </a:xfrm>
            <a:prstGeom prst="line">
              <a:avLst/>
            </a:prstGeom>
            <a:noFill/>
            <a:ln w="19050" cap="rnd" cmpd="sng" algn="ctr">
              <a:solidFill>
                <a:srgbClr val="00257C"/>
              </a:solidFill>
              <a:prstDash val="sysDot"/>
            </a:ln>
            <a:effectLst/>
          </p:spPr>
        </p:cxnSp>
        <p:sp>
          <p:nvSpPr>
            <p:cNvPr id="31" name="椭圆 75">
              <a:extLst>
                <a:ext uri="{FF2B5EF4-FFF2-40B4-BE49-F238E27FC236}">
                  <a16:creationId xmlns:a16="http://schemas.microsoft.com/office/drawing/2014/main" id="{2488DFAB-C3F6-974A-4399-1BC16BDE83AA}"/>
                </a:ext>
              </a:extLst>
            </p:cNvPr>
            <p:cNvSpPr/>
            <p:nvPr/>
          </p:nvSpPr>
          <p:spPr bwMode="gray">
            <a:xfrm>
              <a:off x="3540996" y="3762959"/>
              <a:ext cx="238621" cy="238621"/>
            </a:xfrm>
            <a:prstGeom prst="ellipse">
              <a:avLst/>
            </a:prstGeom>
            <a:solidFill>
              <a:sysClr val="window" lastClr="FFFFFF"/>
            </a:solidFill>
            <a:ln w="28575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2" name="Rounded Rectangle 136">
              <a:extLst>
                <a:ext uri="{FF2B5EF4-FFF2-40B4-BE49-F238E27FC236}">
                  <a16:creationId xmlns:a16="http://schemas.microsoft.com/office/drawing/2014/main" id="{87EB7EE9-FDA0-BE49-7DC5-AD749EDC9806}"/>
                </a:ext>
              </a:extLst>
            </p:cNvPr>
            <p:cNvSpPr/>
            <p:nvPr/>
          </p:nvSpPr>
          <p:spPr>
            <a:xfrm>
              <a:off x="3475201" y="5626346"/>
              <a:ext cx="2820361" cy="380134"/>
            </a:xfrm>
            <a:prstGeom prst="roundRect">
              <a:avLst>
                <a:gd name="adj" fmla="val 50000"/>
              </a:avLst>
            </a:prstGeom>
            <a:solidFill>
              <a:srgbClr val="00257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. </a:t>
              </a:r>
              <a:r>
                <a:rPr kumimoji="0" lang="en-GB" sz="13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enanalyse</a:t>
              </a: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Oval 137">
              <a:extLst>
                <a:ext uri="{FF2B5EF4-FFF2-40B4-BE49-F238E27FC236}">
                  <a16:creationId xmlns:a16="http://schemas.microsoft.com/office/drawing/2014/main" id="{29D65528-AAD0-EA52-DD19-A99751B4818E}"/>
                </a:ext>
              </a:extLst>
            </p:cNvPr>
            <p:cNvSpPr/>
            <p:nvPr/>
          </p:nvSpPr>
          <p:spPr>
            <a:xfrm>
              <a:off x="3528107" y="5684213"/>
              <a:ext cx="264404" cy="26440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Oval 138">
              <a:extLst>
                <a:ext uri="{FF2B5EF4-FFF2-40B4-BE49-F238E27FC236}">
                  <a16:creationId xmlns:a16="http://schemas.microsoft.com/office/drawing/2014/main" id="{E7630FD8-E06D-79BC-C3AF-E99AF9374F56}"/>
                </a:ext>
              </a:extLst>
            </p:cNvPr>
            <p:cNvSpPr/>
            <p:nvPr/>
          </p:nvSpPr>
          <p:spPr>
            <a:xfrm>
              <a:off x="3569404" y="5725510"/>
              <a:ext cx="181810" cy="181810"/>
            </a:xfrm>
            <a:prstGeom prst="ellipse">
              <a:avLst/>
            </a:prstGeom>
            <a:solidFill>
              <a:srgbClr val="FFC62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60">
              <a:extLst>
                <a:ext uri="{FF2B5EF4-FFF2-40B4-BE49-F238E27FC236}">
                  <a16:creationId xmlns:a16="http://schemas.microsoft.com/office/drawing/2014/main" id="{D51D6F24-4B66-D845-658C-C5B416C691FB}"/>
                </a:ext>
              </a:extLst>
            </p:cNvPr>
            <p:cNvSpPr/>
            <p:nvPr/>
          </p:nvSpPr>
          <p:spPr>
            <a:xfrm>
              <a:off x="3779617" y="4103288"/>
              <a:ext cx="2515943" cy="1400383"/>
            </a:xfrm>
            <a:prstGeom prst="rect">
              <a:avLst/>
            </a:prstGeom>
          </p:spPr>
          <p:txBody>
            <a:bodyPr wrap="square" lIns="18288" tIns="0" rIns="18288" bIns="0">
              <a:spAutoFit/>
            </a:bodyPr>
            <a:lstStyle/>
            <a:p>
              <a:pPr>
                <a:defRPr/>
              </a:pP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Die gesammelten Daten wurden strukturiert aufbereitet, technisch verarbeitet und inhaltlich analysiert. Es entstanden erste Auswertungen, Visualisierungen und Hypothesenvalidierungen auf Basis definierter Metriken.</a:t>
              </a:r>
            </a:p>
          </p:txBody>
        </p:sp>
        <p:sp>
          <p:nvSpPr>
            <p:cNvPr id="36" name="Rectangle 167">
              <a:extLst>
                <a:ext uri="{FF2B5EF4-FFF2-40B4-BE49-F238E27FC236}">
                  <a16:creationId xmlns:a16="http://schemas.microsoft.com/office/drawing/2014/main" id="{AA6E21C3-6A2B-7A06-3D47-9FFAC97F9DCF}"/>
                </a:ext>
              </a:extLst>
            </p:cNvPr>
            <p:cNvSpPr/>
            <p:nvPr/>
          </p:nvSpPr>
          <p:spPr>
            <a:xfrm rot="16200000">
              <a:off x="2820050" y="4603421"/>
              <a:ext cx="1403739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300" b="1" dirty="0">
                  <a:solidFill>
                    <a:srgbClr val="00257C"/>
                  </a:solidFill>
                  <a:latin typeface="Calibri"/>
                </a:rPr>
                <a:t>23. Juni 2025</a:t>
              </a:r>
              <a:endParaRPr lang="en-US" sz="1300" dirty="0">
                <a:solidFill>
                  <a:srgbClr val="00257C"/>
                </a:solidFill>
                <a:latin typeface="Calibri"/>
              </a:endParaRPr>
            </a:p>
          </p:txBody>
        </p:sp>
        <p:sp>
          <p:nvSpPr>
            <p:cNvPr id="37" name="椭圆 83">
              <a:extLst>
                <a:ext uri="{FF2B5EF4-FFF2-40B4-BE49-F238E27FC236}">
                  <a16:creationId xmlns:a16="http://schemas.microsoft.com/office/drawing/2014/main" id="{89AAE35F-018C-85E8-A876-38B7A86C4432}"/>
                </a:ext>
              </a:extLst>
            </p:cNvPr>
            <p:cNvSpPr/>
            <p:nvPr/>
          </p:nvSpPr>
          <p:spPr bwMode="gray">
            <a:xfrm>
              <a:off x="3588721" y="3810684"/>
              <a:ext cx="143173" cy="143173"/>
            </a:xfrm>
            <a:prstGeom prst="ellipse">
              <a:avLst/>
            </a:prstGeom>
            <a:solidFill>
              <a:sysClr val="window" lastClr="FFFFFF"/>
            </a:solidFill>
            <a:ln w="19050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7BBD0CA-4202-3DCB-D5E2-9DAE78C00109}"/>
              </a:ext>
            </a:extLst>
          </p:cNvPr>
          <p:cNvGrpSpPr/>
          <p:nvPr/>
        </p:nvGrpSpPr>
        <p:grpSpPr>
          <a:xfrm>
            <a:off x="8168792" y="3762959"/>
            <a:ext cx="2873667" cy="2243521"/>
            <a:chOff x="8168792" y="3762959"/>
            <a:chExt cx="2873667" cy="2243521"/>
          </a:xfrm>
        </p:grpSpPr>
        <p:cxnSp>
          <p:nvCxnSpPr>
            <p:cNvPr id="43" name="Straight Connector 154">
              <a:extLst>
                <a:ext uri="{FF2B5EF4-FFF2-40B4-BE49-F238E27FC236}">
                  <a16:creationId xmlns:a16="http://schemas.microsoft.com/office/drawing/2014/main" id="{99486BC2-B03E-FC7C-5DD5-387192391282}"/>
                </a:ext>
              </a:extLst>
            </p:cNvPr>
            <p:cNvCxnSpPr>
              <a:cxnSpLocks/>
              <a:stCxn id="40" idx="0"/>
            </p:cNvCxnSpPr>
            <p:nvPr/>
          </p:nvCxnSpPr>
          <p:spPr>
            <a:xfrm flipV="1">
              <a:off x="8407207" y="3916178"/>
              <a:ext cx="0" cy="1768035"/>
            </a:xfrm>
            <a:prstGeom prst="line">
              <a:avLst/>
            </a:prstGeom>
            <a:noFill/>
            <a:ln w="19050" cap="rnd" cmpd="sng" algn="ctr">
              <a:solidFill>
                <a:srgbClr val="00257C"/>
              </a:solidFill>
              <a:prstDash val="sysDot"/>
            </a:ln>
            <a:effectLst/>
          </p:spPr>
        </p:cxnSp>
        <p:sp>
          <p:nvSpPr>
            <p:cNvPr id="38" name="椭圆 85">
              <a:extLst>
                <a:ext uri="{FF2B5EF4-FFF2-40B4-BE49-F238E27FC236}">
                  <a16:creationId xmlns:a16="http://schemas.microsoft.com/office/drawing/2014/main" id="{75BBC72A-0336-7F54-9DC4-E9E211397C24}"/>
                </a:ext>
              </a:extLst>
            </p:cNvPr>
            <p:cNvSpPr/>
            <p:nvPr/>
          </p:nvSpPr>
          <p:spPr bwMode="gray">
            <a:xfrm>
              <a:off x="8287894" y="3762959"/>
              <a:ext cx="238621" cy="238621"/>
            </a:xfrm>
            <a:prstGeom prst="ellipse">
              <a:avLst/>
            </a:prstGeom>
            <a:solidFill>
              <a:sysClr val="window" lastClr="FFFFFF"/>
            </a:solidFill>
            <a:ln w="28575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9" name="Rounded Rectangle 136">
              <a:extLst>
                <a:ext uri="{FF2B5EF4-FFF2-40B4-BE49-F238E27FC236}">
                  <a16:creationId xmlns:a16="http://schemas.microsoft.com/office/drawing/2014/main" id="{C1A9F135-5ECC-1838-71E2-0ECE25F1B94B}"/>
                </a:ext>
              </a:extLst>
            </p:cNvPr>
            <p:cNvSpPr/>
            <p:nvPr/>
          </p:nvSpPr>
          <p:spPr>
            <a:xfrm>
              <a:off x="8222098" y="5626346"/>
              <a:ext cx="2820361" cy="380134"/>
            </a:xfrm>
            <a:prstGeom prst="roundRect">
              <a:avLst>
                <a:gd name="adj" fmla="val 50000"/>
              </a:avLst>
            </a:prstGeom>
            <a:solidFill>
              <a:srgbClr val="00257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. </a:t>
              </a:r>
              <a:r>
                <a:rPr kumimoji="0" lang="en-GB" sz="13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jektabschluss</a:t>
              </a: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Oval 137">
              <a:extLst>
                <a:ext uri="{FF2B5EF4-FFF2-40B4-BE49-F238E27FC236}">
                  <a16:creationId xmlns:a16="http://schemas.microsoft.com/office/drawing/2014/main" id="{35EB4AE1-E01A-9D32-6D95-C3E9651CBC76}"/>
                </a:ext>
              </a:extLst>
            </p:cNvPr>
            <p:cNvSpPr/>
            <p:nvPr/>
          </p:nvSpPr>
          <p:spPr>
            <a:xfrm>
              <a:off x="8275005" y="5684213"/>
              <a:ext cx="264404" cy="26440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val 138">
              <a:extLst>
                <a:ext uri="{FF2B5EF4-FFF2-40B4-BE49-F238E27FC236}">
                  <a16:creationId xmlns:a16="http://schemas.microsoft.com/office/drawing/2014/main" id="{A68C4F83-31CA-BB73-35E8-A34FCCCF050A}"/>
                </a:ext>
              </a:extLst>
            </p:cNvPr>
            <p:cNvSpPr/>
            <p:nvPr/>
          </p:nvSpPr>
          <p:spPr>
            <a:xfrm>
              <a:off x="8316302" y="5725510"/>
              <a:ext cx="181810" cy="181810"/>
            </a:xfrm>
            <a:prstGeom prst="ellipse">
              <a:avLst/>
            </a:prstGeom>
            <a:solidFill>
              <a:srgbClr val="FFC62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60">
              <a:extLst>
                <a:ext uri="{FF2B5EF4-FFF2-40B4-BE49-F238E27FC236}">
                  <a16:creationId xmlns:a16="http://schemas.microsoft.com/office/drawing/2014/main" id="{BD63B806-1F42-AFF9-6703-1E59C1FD8C26}"/>
                </a:ext>
              </a:extLst>
            </p:cNvPr>
            <p:cNvSpPr/>
            <p:nvPr/>
          </p:nvSpPr>
          <p:spPr>
            <a:xfrm>
              <a:off x="8526515" y="4103288"/>
              <a:ext cx="2515939" cy="1400383"/>
            </a:xfrm>
            <a:prstGeom prst="rect">
              <a:avLst/>
            </a:prstGeom>
          </p:spPr>
          <p:txBody>
            <a:bodyPr wrap="square" lIns="18288" tIns="0" rIns="18288" bIns="0">
              <a:spAutoFit/>
            </a:bodyPr>
            <a:lstStyle/>
            <a:p>
              <a:pPr>
                <a:defRPr/>
              </a:pPr>
              <a:r>
                <a:rPr lang="de-DE" sz="1300" noProof="0" dirty="0">
                  <a:solidFill>
                    <a:prstClr val="black"/>
                  </a:solidFill>
                  <a:latin typeface="Calibri"/>
                </a:rPr>
                <a:t>In der Abschlussphase wurde die multimediale Präsentation konzipiert, erstellt und finalisiert. Ergänzend wurde eine retrospektive Bewertung des Projektverlaufs sowie der Projektmitglieder vorgenommen.</a:t>
              </a:r>
            </a:p>
          </p:txBody>
        </p:sp>
        <p:sp>
          <p:nvSpPr>
            <p:cNvPr id="45" name="Rectangle 167">
              <a:extLst>
                <a:ext uri="{FF2B5EF4-FFF2-40B4-BE49-F238E27FC236}">
                  <a16:creationId xmlns:a16="http://schemas.microsoft.com/office/drawing/2014/main" id="{90B2662E-058A-0252-BB98-DAD9011CC835}"/>
                </a:ext>
              </a:extLst>
            </p:cNvPr>
            <p:cNvSpPr/>
            <p:nvPr/>
          </p:nvSpPr>
          <p:spPr>
            <a:xfrm rot="16200000">
              <a:off x="7566950" y="4603420"/>
              <a:ext cx="1403739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300" b="1" dirty="0">
                  <a:solidFill>
                    <a:srgbClr val="00257C"/>
                  </a:solidFill>
                  <a:latin typeface="Calibri"/>
                </a:rPr>
                <a:t>08. Juli 2025</a:t>
              </a:r>
              <a:endParaRPr lang="en-US" sz="1300" dirty="0">
                <a:solidFill>
                  <a:srgbClr val="00257C"/>
                </a:solidFill>
                <a:latin typeface="Calibri"/>
              </a:endParaRPr>
            </a:p>
          </p:txBody>
        </p:sp>
        <p:sp>
          <p:nvSpPr>
            <p:cNvPr id="46" name="椭圆 93">
              <a:extLst>
                <a:ext uri="{FF2B5EF4-FFF2-40B4-BE49-F238E27FC236}">
                  <a16:creationId xmlns:a16="http://schemas.microsoft.com/office/drawing/2014/main" id="{F378D2AF-DED0-8618-7D64-6CC341727AD8}"/>
                </a:ext>
              </a:extLst>
            </p:cNvPr>
            <p:cNvSpPr/>
            <p:nvPr/>
          </p:nvSpPr>
          <p:spPr bwMode="gray">
            <a:xfrm>
              <a:off x="8335618" y="3810684"/>
              <a:ext cx="143173" cy="143173"/>
            </a:xfrm>
            <a:prstGeom prst="ellipse">
              <a:avLst/>
            </a:prstGeom>
            <a:solidFill>
              <a:sysClr val="window" lastClr="FFFFFF"/>
            </a:solidFill>
            <a:ln w="19050" cmpd="sng" algn="ctr">
              <a:solidFill>
                <a:srgbClr val="00257C"/>
              </a:solidFill>
              <a:prstDash val="solid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47" name="Rectangle 167">
            <a:extLst>
              <a:ext uri="{FF2B5EF4-FFF2-40B4-BE49-F238E27FC236}">
                <a16:creationId xmlns:a16="http://schemas.microsoft.com/office/drawing/2014/main" id="{12968BA8-C999-C779-C5CB-344696EF5C8C}"/>
              </a:ext>
            </a:extLst>
          </p:cNvPr>
          <p:cNvSpPr/>
          <p:nvPr/>
        </p:nvSpPr>
        <p:spPr>
          <a:xfrm rot="16200000">
            <a:off x="382840" y="4342083"/>
            <a:ext cx="111968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GB" sz="1300" b="1" dirty="0">
                <a:solidFill>
                  <a:srgbClr val="00257C"/>
                </a:solidFill>
                <a:latin typeface="Calibri"/>
              </a:rPr>
              <a:t>09. Mai 2025</a:t>
            </a:r>
            <a:endParaRPr lang="en-US" sz="1300" dirty="0">
              <a:solidFill>
                <a:srgbClr val="00257C"/>
              </a:solidFill>
              <a:latin typeface="Calibri"/>
            </a:endParaRPr>
          </a:p>
        </p:txBody>
      </p:sp>
      <p:sp>
        <p:nvSpPr>
          <p:cNvPr id="48" name="Rectangle 167">
            <a:extLst>
              <a:ext uri="{FF2B5EF4-FFF2-40B4-BE49-F238E27FC236}">
                <a16:creationId xmlns:a16="http://schemas.microsoft.com/office/drawing/2014/main" id="{C0E7362D-FB2B-8CBE-0FFC-31EAA791FA64}"/>
              </a:ext>
            </a:extLst>
          </p:cNvPr>
          <p:cNvSpPr/>
          <p:nvPr/>
        </p:nvSpPr>
        <p:spPr>
          <a:xfrm rot="16200000">
            <a:off x="10683744" y="3222400"/>
            <a:ext cx="111968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GB" sz="1300" b="1" dirty="0">
                <a:solidFill>
                  <a:srgbClr val="00257C"/>
                </a:solidFill>
                <a:latin typeface="Calibri"/>
              </a:rPr>
              <a:t>11. Juli 2025</a:t>
            </a:r>
            <a:endParaRPr lang="en-US" sz="1300" dirty="0">
              <a:solidFill>
                <a:srgbClr val="00257C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3914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DDF66C-C234-658B-6909-45439A0EB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C54675-3441-D9CB-54DD-1030F1FCC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1475"/>
            <a:ext cx="10515600" cy="1325563"/>
          </a:xfrm>
        </p:spPr>
        <p:txBody>
          <a:bodyPr>
            <a:normAutofit/>
          </a:bodyPr>
          <a:lstStyle/>
          <a:p>
            <a:r>
              <a:rPr lang="de-DE" cap="small" dirty="0"/>
              <a:t>Zusammenarbeit und Kommunikation während des Projektverlauf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D37495-ABE6-9DA4-9391-33999E66F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188A33-EBA6-9BD9-8496-31C3658FB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E46E26A-B3D2-2A6F-ED4B-7DCD0F894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4</a:t>
            </a:r>
          </a:p>
        </p:txBody>
      </p:sp>
      <p:sp>
        <p:nvSpPr>
          <p:cNvPr id="3" name="Freeform 15">
            <a:extLst>
              <a:ext uri="{FF2B5EF4-FFF2-40B4-BE49-F238E27FC236}">
                <a16:creationId xmlns:a16="http://schemas.microsoft.com/office/drawing/2014/main" id="{A870EE70-27DF-3272-845E-CBE39260F467}"/>
              </a:ext>
            </a:extLst>
          </p:cNvPr>
          <p:cNvSpPr>
            <a:spLocks noEditPoints="1"/>
          </p:cNvSpPr>
          <p:nvPr/>
        </p:nvSpPr>
        <p:spPr bwMode="auto">
          <a:xfrm>
            <a:off x="5046336" y="3968505"/>
            <a:ext cx="984763" cy="979258"/>
          </a:xfrm>
          <a:custGeom>
            <a:avLst/>
            <a:gdLst>
              <a:gd name="T0" fmla="*/ 592 w 605"/>
              <a:gd name="T1" fmla="*/ 213 h 602"/>
              <a:gd name="T2" fmla="*/ 544 w 605"/>
              <a:gd name="T3" fmla="*/ 119 h 602"/>
              <a:gd name="T4" fmla="*/ 467 w 605"/>
              <a:gd name="T5" fmla="*/ 47 h 602"/>
              <a:gd name="T6" fmla="*/ 371 w 605"/>
              <a:gd name="T7" fmla="*/ 6 h 602"/>
              <a:gd name="T8" fmla="*/ 266 w 605"/>
              <a:gd name="T9" fmla="*/ 0 h 602"/>
              <a:gd name="T10" fmla="*/ 165 w 605"/>
              <a:gd name="T11" fmla="*/ 31 h 602"/>
              <a:gd name="T12" fmla="*/ 81 w 605"/>
              <a:gd name="T13" fmla="*/ 94 h 602"/>
              <a:gd name="T14" fmla="*/ 23 w 605"/>
              <a:gd name="T15" fmla="*/ 183 h 602"/>
              <a:gd name="T16" fmla="*/ 0 w 605"/>
              <a:gd name="T17" fmla="*/ 285 h 602"/>
              <a:gd name="T18" fmla="*/ 0 w 605"/>
              <a:gd name="T19" fmla="*/ 317 h 602"/>
              <a:gd name="T20" fmla="*/ 23 w 605"/>
              <a:gd name="T21" fmla="*/ 420 h 602"/>
              <a:gd name="T22" fmla="*/ 81 w 605"/>
              <a:gd name="T23" fmla="*/ 508 h 602"/>
              <a:gd name="T24" fmla="*/ 165 w 605"/>
              <a:gd name="T25" fmla="*/ 571 h 602"/>
              <a:gd name="T26" fmla="*/ 266 w 605"/>
              <a:gd name="T27" fmla="*/ 602 h 602"/>
              <a:gd name="T28" fmla="*/ 371 w 605"/>
              <a:gd name="T29" fmla="*/ 597 h 602"/>
              <a:gd name="T30" fmla="*/ 467 w 605"/>
              <a:gd name="T31" fmla="*/ 555 h 602"/>
              <a:gd name="T32" fmla="*/ 544 w 605"/>
              <a:gd name="T33" fmla="*/ 484 h 602"/>
              <a:gd name="T34" fmla="*/ 592 w 605"/>
              <a:gd name="T35" fmla="*/ 390 h 602"/>
              <a:gd name="T36" fmla="*/ 336 w 605"/>
              <a:gd name="T37" fmla="*/ 100 h 602"/>
              <a:gd name="T38" fmla="*/ 336 w 605"/>
              <a:gd name="T39" fmla="*/ 100 h 602"/>
              <a:gd name="T40" fmla="*/ 388 w 605"/>
              <a:gd name="T41" fmla="*/ 235 h 602"/>
              <a:gd name="T42" fmla="*/ 366 w 605"/>
              <a:gd name="T43" fmla="*/ 377 h 602"/>
              <a:gd name="T44" fmla="*/ 388 w 605"/>
              <a:gd name="T45" fmla="*/ 251 h 602"/>
              <a:gd name="T46" fmla="*/ 407 w 605"/>
              <a:gd name="T47" fmla="*/ 271 h 602"/>
              <a:gd name="T48" fmla="*/ 407 w 605"/>
              <a:gd name="T49" fmla="*/ 271 h 602"/>
              <a:gd name="T50" fmla="*/ 383 w 605"/>
              <a:gd name="T51" fmla="*/ 359 h 602"/>
              <a:gd name="T52" fmla="*/ 408 w 605"/>
              <a:gd name="T53" fmla="*/ 328 h 602"/>
              <a:gd name="T54" fmla="*/ 401 w 605"/>
              <a:gd name="T55" fmla="*/ 301 h 602"/>
              <a:gd name="T56" fmla="*/ 410 w 605"/>
              <a:gd name="T57" fmla="*/ 315 h 602"/>
              <a:gd name="T58" fmla="*/ 353 w 605"/>
              <a:gd name="T59" fmla="*/ 216 h 602"/>
              <a:gd name="T60" fmla="*/ 346 w 605"/>
              <a:gd name="T61" fmla="*/ 201 h 602"/>
              <a:gd name="T62" fmla="*/ 306 w 605"/>
              <a:gd name="T63" fmla="*/ 192 h 602"/>
              <a:gd name="T64" fmla="*/ 306 w 605"/>
              <a:gd name="T65" fmla="*/ 192 h 602"/>
              <a:gd name="T66" fmla="*/ 302 w 605"/>
              <a:gd name="T67" fmla="*/ 231 h 602"/>
              <a:gd name="T68" fmla="*/ 345 w 605"/>
              <a:gd name="T69" fmla="*/ 391 h 602"/>
              <a:gd name="T70" fmla="*/ 257 w 605"/>
              <a:gd name="T71" fmla="*/ 400 h 602"/>
              <a:gd name="T72" fmla="*/ 206 w 605"/>
              <a:gd name="T73" fmla="*/ 278 h 602"/>
              <a:gd name="T74" fmla="*/ 206 w 605"/>
              <a:gd name="T75" fmla="*/ 278 h 602"/>
              <a:gd name="T76" fmla="*/ 209 w 605"/>
              <a:gd name="T77" fmla="*/ 267 h 602"/>
              <a:gd name="T78" fmla="*/ 194 w 605"/>
              <a:gd name="T79" fmla="*/ 317 h 602"/>
              <a:gd name="T80" fmla="*/ 211 w 605"/>
              <a:gd name="T81" fmla="*/ 339 h 602"/>
              <a:gd name="T82" fmla="*/ 216 w 605"/>
              <a:gd name="T83" fmla="*/ 350 h 602"/>
              <a:gd name="T84" fmla="*/ 216 w 605"/>
              <a:gd name="T85" fmla="*/ 350 h 602"/>
              <a:gd name="T86" fmla="*/ 229 w 605"/>
              <a:gd name="T87" fmla="*/ 235 h 602"/>
              <a:gd name="T88" fmla="*/ 234 w 605"/>
              <a:gd name="T89" fmla="*/ 386 h 602"/>
              <a:gd name="T90" fmla="*/ 242 w 605"/>
              <a:gd name="T91" fmla="*/ 211 h 602"/>
              <a:gd name="T92" fmla="*/ 293 w 605"/>
              <a:gd name="T93" fmla="*/ 193 h 602"/>
              <a:gd name="T94" fmla="*/ 293 w 605"/>
              <a:gd name="T95" fmla="*/ 193 h 602"/>
              <a:gd name="T96" fmla="*/ 269 w 605"/>
              <a:gd name="T97" fmla="*/ 208 h 602"/>
              <a:gd name="T98" fmla="*/ 210 w 605"/>
              <a:gd name="T99" fmla="*/ 210 h 602"/>
              <a:gd name="T100" fmla="*/ 99 w 605"/>
              <a:gd name="T101" fmla="*/ 301 h 602"/>
              <a:gd name="T102" fmla="*/ 177 w 605"/>
              <a:gd name="T103" fmla="*/ 335 h 602"/>
              <a:gd name="T104" fmla="*/ 210 w 605"/>
              <a:gd name="T105" fmla="*/ 393 h 602"/>
              <a:gd name="T106" fmla="*/ 270 w 605"/>
              <a:gd name="T107" fmla="*/ 405 h 602"/>
              <a:gd name="T108" fmla="*/ 302 w 605"/>
              <a:gd name="T109" fmla="*/ 410 h 602"/>
              <a:gd name="T110" fmla="*/ 310 w 605"/>
              <a:gd name="T111" fmla="*/ 410 h 602"/>
              <a:gd name="T112" fmla="*/ 337 w 605"/>
              <a:gd name="T113" fmla="*/ 405 h 602"/>
              <a:gd name="T114" fmla="*/ 336 w 605"/>
              <a:gd name="T115" fmla="*/ 427 h 602"/>
              <a:gd name="T116" fmla="*/ 493 w 605"/>
              <a:gd name="T117" fmla="*/ 373 h 602"/>
              <a:gd name="T118" fmla="*/ 493 w 605"/>
              <a:gd name="T119" fmla="*/ 23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05" h="602">
                <a:moveTo>
                  <a:pt x="557" y="301"/>
                </a:moveTo>
                <a:cubicBezTo>
                  <a:pt x="557" y="299"/>
                  <a:pt x="557" y="296"/>
                  <a:pt x="557" y="294"/>
                </a:cubicBezTo>
                <a:cubicBezTo>
                  <a:pt x="605" y="285"/>
                  <a:pt x="605" y="285"/>
                  <a:pt x="605" y="285"/>
                </a:cubicBezTo>
                <a:cubicBezTo>
                  <a:pt x="592" y="213"/>
                  <a:pt x="592" y="213"/>
                  <a:pt x="592" y="213"/>
                </a:cubicBezTo>
                <a:cubicBezTo>
                  <a:pt x="544" y="221"/>
                  <a:pt x="544" y="221"/>
                  <a:pt x="544" y="221"/>
                </a:cubicBezTo>
                <a:cubicBezTo>
                  <a:pt x="543" y="216"/>
                  <a:pt x="541" y="212"/>
                  <a:pt x="539" y="207"/>
                </a:cubicBezTo>
                <a:cubicBezTo>
                  <a:pt x="581" y="183"/>
                  <a:pt x="581" y="183"/>
                  <a:pt x="581" y="183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02" y="143"/>
                  <a:pt x="502" y="143"/>
                  <a:pt x="502" y="143"/>
                </a:cubicBezTo>
                <a:cubicBezTo>
                  <a:pt x="499" y="139"/>
                  <a:pt x="496" y="135"/>
                  <a:pt x="493" y="132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467" y="47"/>
                  <a:pt x="467" y="47"/>
                  <a:pt x="467" y="47"/>
                </a:cubicBezTo>
                <a:cubicBezTo>
                  <a:pt x="436" y="84"/>
                  <a:pt x="436" y="84"/>
                  <a:pt x="436" y="84"/>
                </a:cubicBezTo>
                <a:cubicBezTo>
                  <a:pt x="432" y="82"/>
                  <a:pt x="428" y="79"/>
                  <a:pt x="423" y="77"/>
                </a:cubicBezTo>
                <a:cubicBezTo>
                  <a:pt x="440" y="31"/>
                  <a:pt x="440" y="31"/>
                  <a:pt x="440" y="31"/>
                </a:cubicBezTo>
                <a:cubicBezTo>
                  <a:pt x="371" y="6"/>
                  <a:pt x="371" y="6"/>
                  <a:pt x="371" y="6"/>
                </a:cubicBezTo>
                <a:cubicBezTo>
                  <a:pt x="354" y="52"/>
                  <a:pt x="354" y="52"/>
                  <a:pt x="354" y="52"/>
                </a:cubicBezTo>
                <a:cubicBezTo>
                  <a:pt x="349" y="51"/>
                  <a:pt x="344" y="50"/>
                  <a:pt x="339" y="49"/>
                </a:cubicBezTo>
                <a:cubicBezTo>
                  <a:pt x="339" y="0"/>
                  <a:pt x="339" y="0"/>
                  <a:pt x="339" y="0"/>
                </a:cubicBezTo>
                <a:cubicBezTo>
                  <a:pt x="266" y="0"/>
                  <a:pt x="266" y="0"/>
                  <a:pt x="266" y="0"/>
                </a:cubicBezTo>
                <a:cubicBezTo>
                  <a:pt x="266" y="49"/>
                  <a:pt x="266" y="49"/>
                  <a:pt x="266" y="49"/>
                </a:cubicBezTo>
                <a:cubicBezTo>
                  <a:pt x="260" y="50"/>
                  <a:pt x="255" y="51"/>
                  <a:pt x="250" y="52"/>
                </a:cubicBezTo>
                <a:cubicBezTo>
                  <a:pt x="234" y="6"/>
                  <a:pt x="234" y="6"/>
                  <a:pt x="234" y="6"/>
                </a:cubicBezTo>
                <a:cubicBezTo>
                  <a:pt x="165" y="31"/>
                  <a:pt x="165" y="31"/>
                  <a:pt x="165" y="31"/>
                </a:cubicBezTo>
                <a:cubicBezTo>
                  <a:pt x="181" y="77"/>
                  <a:pt x="181" y="77"/>
                  <a:pt x="181" y="77"/>
                </a:cubicBezTo>
                <a:cubicBezTo>
                  <a:pt x="177" y="79"/>
                  <a:pt x="173" y="82"/>
                  <a:pt x="168" y="84"/>
                </a:cubicBezTo>
                <a:cubicBezTo>
                  <a:pt x="137" y="47"/>
                  <a:pt x="137" y="47"/>
                  <a:pt x="137" y="47"/>
                </a:cubicBezTo>
                <a:cubicBezTo>
                  <a:pt x="81" y="94"/>
                  <a:pt x="81" y="94"/>
                  <a:pt x="81" y="94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09" y="135"/>
                  <a:pt x="105" y="139"/>
                  <a:pt x="102" y="143"/>
                </a:cubicBezTo>
                <a:cubicBezTo>
                  <a:pt x="60" y="119"/>
                  <a:pt x="60" y="119"/>
                  <a:pt x="60" y="119"/>
                </a:cubicBezTo>
                <a:cubicBezTo>
                  <a:pt x="23" y="183"/>
                  <a:pt x="23" y="183"/>
                  <a:pt x="23" y="183"/>
                </a:cubicBezTo>
                <a:cubicBezTo>
                  <a:pt x="65" y="207"/>
                  <a:pt x="65" y="207"/>
                  <a:pt x="65" y="207"/>
                </a:cubicBezTo>
                <a:cubicBezTo>
                  <a:pt x="64" y="212"/>
                  <a:pt x="62" y="216"/>
                  <a:pt x="60" y="221"/>
                </a:cubicBezTo>
                <a:cubicBezTo>
                  <a:pt x="12" y="213"/>
                  <a:pt x="12" y="213"/>
                  <a:pt x="12" y="213"/>
                </a:cubicBezTo>
                <a:cubicBezTo>
                  <a:pt x="0" y="285"/>
                  <a:pt x="0" y="285"/>
                  <a:pt x="0" y="285"/>
                </a:cubicBezTo>
                <a:cubicBezTo>
                  <a:pt x="48" y="294"/>
                  <a:pt x="48" y="294"/>
                  <a:pt x="48" y="294"/>
                </a:cubicBezTo>
                <a:cubicBezTo>
                  <a:pt x="47" y="296"/>
                  <a:pt x="47" y="299"/>
                  <a:pt x="47" y="301"/>
                </a:cubicBezTo>
                <a:cubicBezTo>
                  <a:pt x="47" y="304"/>
                  <a:pt x="47" y="306"/>
                  <a:pt x="48" y="309"/>
                </a:cubicBezTo>
                <a:cubicBezTo>
                  <a:pt x="0" y="317"/>
                  <a:pt x="0" y="317"/>
                  <a:pt x="0" y="317"/>
                </a:cubicBezTo>
                <a:cubicBezTo>
                  <a:pt x="12" y="390"/>
                  <a:pt x="12" y="390"/>
                  <a:pt x="12" y="390"/>
                </a:cubicBezTo>
                <a:cubicBezTo>
                  <a:pt x="60" y="381"/>
                  <a:pt x="60" y="381"/>
                  <a:pt x="60" y="381"/>
                </a:cubicBezTo>
                <a:cubicBezTo>
                  <a:pt x="62" y="386"/>
                  <a:pt x="64" y="391"/>
                  <a:pt x="65" y="396"/>
                </a:cubicBezTo>
                <a:cubicBezTo>
                  <a:pt x="23" y="420"/>
                  <a:pt x="23" y="420"/>
                  <a:pt x="23" y="420"/>
                </a:cubicBezTo>
                <a:cubicBezTo>
                  <a:pt x="60" y="484"/>
                  <a:pt x="60" y="484"/>
                  <a:pt x="60" y="484"/>
                </a:cubicBezTo>
                <a:cubicBezTo>
                  <a:pt x="102" y="459"/>
                  <a:pt x="102" y="459"/>
                  <a:pt x="102" y="459"/>
                </a:cubicBezTo>
                <a:cubicBezTo>
                  <a:pt x="105" y="463"/>
                  <a:pt x="109" y="467"/>
                  <a:pt x="112" y="471"/>
                </a:cubicBezTo>
                <a:cubicBezTo>
                  <a:pt x="81" y="508"/>
                  <a:pt x="81" y="508"/>
                  <a:pt x="81" y="508"/>
                </a:cubicBezTo>
                <a:cubicBezTo>
                  <a:pt x="137" y="555"/>
                  <a:pt x="137" y="555"/>
                  <a:pt x="137" y="555"/>
                </a:cubicBezTo>
                <a:cubicBezTo>
                  <a:pt x="168" y="518"/>
                  <a:pt x="168" y="518"/>
                  <a:pt x="168" y="518"/>
                </a:cubicBezTo>
                <a:cubicBezTo>
                  <a:pt x="173" y="521"/>
                  <a:pt x="177" y="523"/>
                  <a:pt x="181" y="526"/>
                </a:cubicBezTo>
                <a:cubicBezTo>
                  <a:pt x="165" y="571"/>
                  <a:pt x="165" y="571"/>
                  <a:pt x="165" y="571"/>
                </a:cubicBezTo>
                <a:cubicBezTo>
                  <a:pt x="234" y="597"/>
                  <a:pt x="234" y="597"/>
                  <a:pt x="234" y="597"/>
                </a:cubicBezTo>
                <a:cubicBezTo>
                  <a:pt x="250" y="551"/>
                  <a:pt x="250" y="551"/>
                  <a:pt x="250" y="551"/>
                </a:cubicBezTo>
                <a:cubicBezTo>
                  <a:pt x="255" y="552"/>
                  <a:pt x="260" y="553"/>
                  <a:pt x="266" y="554"/>
                </a:cubicBezTo>
                <a:cubicBezTo>
                  <a:pt x="266" y="602"/>
                  <a:pt x="266" y="602"/>
                  <a:pt x="266" y="602"/>
                </a:cubicBezTo>
                <a:cubicBezTo>
                  <a:pt x="339" y="602"/>
                  <a:pt x="339" y="602"/>
                  <a:pt x="339" y="602"/>
                </a:cubicBezTo>
                <a:cubicBezTo>
                  <a:pt x="339" y="554"/>
                  <a:pt x="339" y="554"/>
                  <a:pt x="339" y="554"/>
                </a:cubicBezTo>
                <a:cubicBezTo>
                  <a:pt x="344" y="553"/>
                  <a:pt x="349" y="552"/>
                  <a:pt x="354" y="551"/>
                </a:cubicBezTo>
                <a:cubicBezTo>
                  <a:pt x="371" y="597"/>
                  <a:pt x="371" y="597"/>
                  <a:pt x="371" y="597"/>
                </a:cubicBezTo>
                <a:cubicBezTo>
                  <a:pt x="440" y="571"/>
                  <a:pt x="440" y="571"/>
                  <a:pt x="440" y="571"/>
                </a:cubicBezTo>
                <a:cubicBezTo>
                  <a:pt x="423" y="526"/>
                  <a:pt x="423" y="526"/>
                  <a:pt x="423" y="526"/>
                </a:cubicBezTo>
                <a:cubicBezTo>
                  <a:pt x="428" y="523"/>
                  <a:pt x="432" y="521"/>
                  <a:pt x="436" y="518"/>
                </a:cubicBezTo>
                <a:cubicBezTo>
                  <a:pt x="467" y="555"/>
                  <a:pt x="467" y="555"/>
                  <a:pt x="467" y="555"/>
                </a:cubicBezTo>
                <a:cubicBezTo>
                  <a:pt x="524" y="508"/>
                  <a:pt x="524" y="508"/>
                  <a:pt x="524" y="508"/>
                </a:cubicBezTo>
                <a:cubicBezTo>
                  <a:pt x="493" y="471"/>
                  <a:pt x="493" y="471"/>
                  <a:pt x="493" y="471"/>
                </a:cubicBezTo>
                <a:cubicBezTo>
                  <a:pt x="496" y="467"/>
                  <a:pt x="499" y="463"/>
                  <a:pt x="502" y="459"/>
                </a:cubicBezTo>
                <a:cubicBezTo>
                  <a:pt x="544" y="484"/>
                  <a:pt x="544" y="484"/>
                  <a:pt x="544" y="484"/>
                </a:cubicBezTo>
                <a:cubicBezTo>
                  <a:pt x="581" y="420"/>
                  <a:pt x="581" y="420"/>
                  <a:pt x="581" y="420"/>
                </a:cubicBezTo>
                <a:cubicBezTo>
                  <a:pt x="539" y="396"/>
                  <a:pt x="539" y="396"/>
                  <a:pt x="539" y="396"/>
                </a:cubicBezTo>
                <a:cubicBezTo>
                  <a:pt x="541" y="391"/>
                  <a:pt x="543" y="386"/>
                  <a:pt x="544" y="381"/>
                </a:cubicBezTo>
                <a:cubicBezTo>
                  <a:pt x="592" y="390"/>
                  <a:pt x="592" y="390"/>
                  <a:pt x="592" y="390"/>
                </a:cubicBezTo>
                <a:cubicBezTo>
                  <a:pt x="605" y="317"/>
                  <a:pt x="605" y="317"/>
                  <a:pt x="605" y="317"/>
                </a:cubicBezTo>
                <a:cubicBezTo>
                  <a:pt x="557" y="309"/>
                  <a:pt x="557" y="309"/>
                  <a:pt x="557" y="309"/>
                </a:cubicBezTo>
                <a:cubicBezTo>
                  <a:pt x="557" y="306"/>
                  <a:pt x="557" y="304"/>
                  <a:pt x="557" y="301"/>
                </a:cubicBezTo>
                <a:close/>
                <a:moveTo>
                  <a:pt x="336" y="100"/>
                </a:moveTo>
                <a:cubicBezTo>
                  <a:pt x="385" y="109"/>
                  <a:pt x="429" y="135"/>
                  <a:pt x="459" y="172"/>
                </a:cubicBezTo>
                <a:cubicBezTo>
                  <a:pt x="394" y="210"/>
                  <a:pt x="394" y="210"/>
                  <a:pt x="394" y="210"/>
                </a:cubicBezTo>
                <a:cubicBezTo>
                  <a:pt x="378" y="194"/>
                  <a:pt x="358" y="182"/>
                  <a:pt x="336" y="176"/>
                </a:cubicBezTo>
                <a:lnTo>
                  <a:pt x="336" y="100"/>
                </a:lnTo>
                <a:close/>
                <a:moveTo>
                  <a:pt x="381" y="241"/>
                </a:moveTo>
                <a:cubicBezTo>
                  <a:pt x="378" y="237"/>
                  <a:pt x="375" y="234"/>
                  <a:pt x="372" y="231"/>
                </a:cubicBezTo>
                <a:cubicBezTo>
                  <a:pt x="379" y="224"/>
                  <a:pt x="379" y="224"/>
                  <a:pt x="379" y="224"/>
                </a:cubicBezTo>
                <a:cubicBezTo>
                  <a:pt x="383" y="228"/>
                  <a:pt x="386" y="231"/>
                  <a:pt x="388" y="235"/>
                </a:cubicBezTo>
                <a:lnTo>
                  <a:pt x="381" y="241"/>
                </a:lnTo>
                <a:close/>
                <a:moveTo>
                  <a:pt x="382" y="376"/>
                </a:moveTo>
                <a:cubicBezTo>
                  <a:pt x="379" y="379"/>
                  <a:pt x="376" y="382"/>
                  <a:pt x="372" y="385"/>
                </a:cubicBezTo>
                <a:cubicBezTo>
                  <a:pt x="366" y="377"/>
                  <a:pt x="366" y="377"/>
                  <a:pt x="366" y="377"/>
                </a:cubicBezTo>
                <a:cubicBezTo>
                  <a:pt x="369" y="375"/>
                  <a:pt x="372" y="372"/>
                  <a:pt x="375" y="369"/>
                </a:cubicBezTo>
                <a:lnTo>
                  <a:pt x="382" y="376"/>
                </a:lnTo>
                <a:close/>
                <a:moveTo>
                  <a:pt x="393" y="262"/>
                </a:moveTo>
                <a:cubicBezTo>
                  <a:pt x="392" y="258"/>
                  <a:pt x="390" y="254"/>
                  <a:pt x="388" y="251"/>
                </a:cubicBezTo>
                <a:cubicBezTo>
                  <a:pt x="396" y="246"/>
                  <a:pt x="396" y="246"/>
                  <a:pt x="396" y="246"/>
                </a:cubicBezTo>
                <a:cubicBezTo>
                  <a:pt x="398" y="250"/>
                  <a:pt x="400" y="254"/>
                  <a:pt x="402" y="258"/>
                </a:cubicBezTo>
                <a:lnTo>
                  <a:pt x="393" y="262"/>
                </a:lnTo>
                <a:close/>
                <a:moveTo>
                  <a:pt x="407" y="271"/>
                </a:moveTo>
                <a:cubicBezTo>
                  <a:pt x="408" y="275"/>
                  <a:pt x="409" y="280"/>
                  <a:pt x="410" y="284"/>
                </a:cubicBezTo>
                <a:cubicBezTo>
                  <a:pt x="400" y="286"/>
                  <a:pt x="400" y="286"/>
                  <a:pt x="400" y="286"/>
                </a:cubicBezTo>
                <a:cubicBezTo>
                  <a:pt x="400" y="281"/>
                  <a:pt x="399" y="277"/>
                  <a:pt x="397" y="273"/>
                </a:cubicBezTo>
                <a:lnTo>
                  <a:pt x="407" y="271"/>
                </a:lnTo>
                <a:close/>
                <a:moveTo>
                  <a:pt x="389" y="349"/>
                </a:moveTo>
                <a:cubicBezTo>
                  <a:pt x="398" y="354"/>
                  <a:pt x="398" y="354"/>
                  <a:pt x="398" y="354"/>
                </a:cubicBezTo>
                <a:cubicBezTo>
                  <a:pt x="396" y="357"/>
                  <a:pt x="393" y="361"/>
                  <a:pt x="391" y="365"/>
                </a:cubicBezTo>
                <a:cubicBezTo>
                  <a:pt x="383" y="359"/>
                  <a:pt x="383" y="359"/>
                  <a:pt x="383" y="359"/>
                </a:cubicBezTo>
                <a:cubicBezTo>
                  <a:pt x="385" y="356"/>
                  <a:pt x="387" y="352"/>
                  <a:pt x="389" y="349"/>
                </a:cubicBezTo>
                <a:close/>
                <a:moveTo>
                  <a:pt x="395" y="338"/>
                </a:moveTo>
                <a:cubicBezTo>
                  <a:pt x="396" y="334"/>
                  <a:pt x="397" y="330"/>
                  <a:pt x="398" y="326"/>
                </a:cubicBezTo>
                <a:cubicBezTo>
                  <a:pt x="408" y="328"/>
                  <a:pt x="408" y="328"/>
                  <a:pt x="408" y="328"/>
                </a:cubicBezTo>
                <a:cubicBezTo>
                  <a:pt x="407" y="333"/>
                  <a:pt x="405" y="337"/>
                  <a:pt x="404" y="341"/>
                </a:cubicBezTo>
                <a:lnTo>
                  <a:pt x="395" y="338"/>
                </a:lnTo>
                <a:close/>
                <a:moveTo>
                  <a:pt x="401" y="314"/>
                </a:moveTo>
                <a:cubicBezTo>
                  <a:pt x="401" y="310"/>
                  <a:pt x="401" y="305"/>
                  <a:pt x="401" y="301"/>
                </a:cubicBezTo>
                <a:cubicBezTo>
                  <a:pt x="401" y="300"/>
                  <a:pt x="401" y="299"/>
                  <a:pt x="401" y="298"/>
                </a:cubicBezTo>
                <a:cubicBezTo>
                  <a:pt x="411" y="298"/>
                  <a:pt x="411" y="298"/>
                  <a:pt x="411" y="298"/>
                </a:cubicBezTo>
                <a:cubicBezTo>
                  <a:pt x="411" y="299"/>
                  <a:pt x="411" y="300"/>
                  <a:pt x="411" y="301"/>
                </a:cubicBezTo>
                <a:cubicBezTo>
                  <a:pt x="411" y="306"/>
                  <a:pt x="411" y="310"/>
                  <a:pt x="410" y="315"/>
                </a:cubicBezTo>
                <a:lnTo>
                  <a:pt x="401" y="314"/>
                </a:lnTo>
                <a:close/>
                <a:moveTo>
                  <a:pt x="369" y="215"/>
                </a:moveTo>
                <a:cubicBezTo>
                  <a:pt x="363" y="223"/>
                  <a:pt x="363" y="223"/>
                  <a:pt x="363" y="223"/>
                </a:cubicBezTo>
                <a:cubicBezTo>
                  <a:pt x="360" y="221"/>
                  <a:pt x="356" y="218"/>
                  <a:pt x="353" y="216"/>
                </a:cubicBezTo>
                <a:cubicBezTo>
                  <a:pt x="358" y="208"/>
                  <a:pt x="358" y="208"/>
                  <a:pt x="358" y="208"/>
                </a:cubicBezTo>
                <a:cubicBezTo>
                  <a:pt x="362" y="210"/>
                  <a:pt x="366" y="213"/>
                  <a:pt x="369" y="215"/>
                </a:cubicBezTo>
                <a:close/>
                <a:moveTo>
                  <a:pt x="333" y="197"/>
                </a:moveTo>
                <a:cubicBezTo>
                  <a:pt x="337" y="198"/>
                  <a:pt x="342" y="200"/>
                  <a:pt x="346" y="201"/>
                </a:cubicBezTo>
                <a:cubicBezTo>
                  <a:pt x="342" y="210"/>
                  <a:pt x="342" y="210"/>
                  <a:pt x="342" y="210"/>
                </a:cubicBezTo>
                <a:cubicBezTo>
                  <a:pt x="338" y="209"/>
                  <a:pt x="334" y="207"/>
                  <a:pt x="330" y="206"/>
                </a:cubicBezTo>
                <a:lnTo>
                  <a:pt x="333" y="197"/>
                </a:lnTo>
                <a:close/>
                <a:moveTo>
                  <a:pt x="306" y="192"/>
                </a:moveTo>
                <a:cubicBezTo>
                  <a:pt x="311" y="193"/>
                  <a:pt x="315" y="193"/>
                  <a:pt x="320" y="194"/>
                </a:cubicBezTo>
                <a:cubicBezTo>
                  <a:pt x="318" y="203"/>
                  <a:pt x="318" y="203"/>
                  <a:pt x="318" y="203"/>
                </a:cubicBezTo>
                <a:cubicBezTo>
                  <a:pt x="314" y="203"/>
                  <a:pt x="310" y="202"/>
                  <a:pt x="306" y="202"/>
                </a:cubicBezTo>
                <a:lnTo>
                  <a:pt x="306" y="192"/>
                </a:lnTo>
                <a:close/>
                <a:moveTo>
                  <a:pt x="373" y="301"/>
                </a:moveTo>
                <a:cubicBezTo>
                  <a:pt x="373" y="340"/>
                  <a:pt x="341" y="372"/>
                  <a:pt x="302" y="372"/>
                </a:cubicBezTo>
                <a:cubicBezTo>
                  <a:pt x="263" y="372"/>
                  <a:pt x="232" y="340"/>
                  <a:pt x="232" y="301"/>
                </a:cubicBezTo>
                <a:cubicBezTo>
                  <a:pt x="232" y="262"/>
                  <a:pt x="263" y="231"/>
                  <a:pt x="302" y="231"/>
                </a:cubicBezTo>
                <a:cubicBezTo>
                  <a:pt x="341" y="231"/>
                  <a:pt x="373" y="262"/>
                  <a:pt x="373" y="301"/>
                </a:cubicBezTo>
                <a:close/>
                <a:moveTo>
                  <a:pt x="361" y="393"/>
                </a:moveTo>
                <a:cubicBezTo>
                  <a:pt x="357" y="395"/>
                  <a:pt x="353" y="398"/>
                  <a:pt x="349" y="400"/>
                </a:cubicBezTo>
                <a:cubicBezTo>
                  <a:pt x="345" y="391"/>
                  <a:pt x="345" y="391"/>
                  <a:pt x="345" y="391"/>
                </a:cubicBezTo>
                <a:cubicBezTo>
                  <a:pt x="349" y="389"/>
                  <a:pt x="352" y="387"/>
                  <a:pt x="356" y="385"/>
                </a:cubicBezTo>
                <a:lnTo>
                  <a:pt x="361" y="393"/>
                </a:lnTo>
                <a:close/>
                <a:moveTo>
                  <a:pt x="261" y="391"/>
                </a:moveTo>
                <a:cubicBezTo>
                  <a:pt x="257" y="400"/>
                  <a:pt x="257" y="400"/>
                  <a:pt x="257" y="400"/>
                </a:cubicBezTo>
                <a:cubicBezTo>
                  <a:pt x="253" y="398"/>
                  <a:pt x="249" y="396"/>
                  <a:pt x="245" y="394"/>
                </a:cubicBezTo>
                <a:cubicBezTo>
                  <a:pt x="250" y="386"/>
                  <a:pt x="250" y="386"/>
                  <a:pt x="250" y="386"/>
                </a:cubicBezTo>
                <a:cubicBezTo>
                  <a:pt x="254" y="388"/>
                  <a:pt x="257" y="390"/>
                  <a:pt x="261" y="391"/>
                </a:cubicBezTo>
                <a:close/>
                <a:moveTo>
                  <a:pt x="206" y="278"/>
                </a:moveTo>
                <a:cubicBezTo>
                  <a:pt x="205" y="282"/>
                  <a:pt x="204" y="287"/>
                  <a:pt x="204" y="291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4" y="285"/>
                  <a:pt x="195" y="281"/>
                  <a:pt x="196" y="276"/>
                </a:cubicBezTo>
                <a:lnTo>
                  <a:pt x="206" y="278"/>
                </a:lnTo>
                <a:close/>
                <a:moveTo>
                  <a:pt x="200" y="263"/>
                </a:moveTo>
                <a:cubicBezTo>
                  <a:pt x="202" y="259"/>
                  <a:pt x="204" y="255"/>
                  <a:pt x="206" y="251"/>
                </a:cubicBezTo>
                <a:cubicBezTo>
                  <a:pt x="214" y="255"/>
                  <a:pt x="214" y="255"/>
                  <a:pt x="214" y="255"/>
                </a:cubicBezTo>
                <a:cubicBezTo>
                  <a:pt x="212" y="259"/>
                  <a:pt x="211" y="263"/>
                  <a:pt x="209" y="267"/>
                </a:cubicBezTo>
                <a:lnTo>
                  <a:pt x="200" y="263"/>
                </a:lnTo>
                <a:close/>
                <a:moveTo>
                  <a:pt x="203" y="303"/>
                </a:moveTo>
                <a:cubicBezTo>
                  <a:pt x="203" y="307"/>
                  <a:pt x="204" y="311"/>
                  <a:pt x="204" y="315"/>
                </a:cubicBezTo>
                <a:cubicBezTo>
                  <a:pt x="194" y="317"/>
                  <a:pt x="194" y="317"/>
                  <a:pt x="194" y="317"/>
                </a:cubicBezTo>
                <a:cubicBezTo>
                  <a:pt x="194" y="312"/>
                  <a:pt x="193" y="308"/>
                  <a:pt x="193" y="303"/>
                </a:cubicBezTo>
                <a:lnTo>
                  <a:pt x="203" y="303"/>
                </a:lnTo>
                <a:close/>
                <a:moveTo>
                  <a:pt x="207" y="327"/>
                </a:moveTo>
                <a:cubicBezTo>
                  <a:pt x="208" y="331"/>
                  <a:pt x="209" y="335"/>
                  <a:pt x="211" y="339"/>
                </a:cubicBezTo>
                <a:cubicBezTo>
                  <a:pt x="202" y="343"/>
                  <a:pt x="202" y="343"/>
                  <a:pt x="202" y="343"/>
                </a:cubicBezTo>
                <a:cubicBezTo>
                  <a:pt x="200" y="339"/>
                  <a:pt x="198" y="334"/>
                  <a:pt x="197" y="330"/>
                </a:cubicBezTo>
                <a:lnTo>
                  <a:pt x="207" y="327"/>
                </a:lnTo>
                <a:close/>
                <a:moveTo>
                  <a:pt x="216" y="350"/>
                </a:moveTo>
                <a:cubicBezTo>
                  <a:pt x="218" y="354"/>
                  <a:pt x="220" y="357"/>
                  <a:pt x="223" y="361"/>
                </a:cubicBezTo>
                <a:cubicBezTo>
                  <a:pt x="215" y="366"/>
                  <a:pt x="215" y="366"/>
                  <a:pt x="215" y="366"/>
                </a:cubicBezTo>
                <a:cubicBezTo>
                  <a:pt x="212" y="363"/>
                  <a:pt x="210" y="359"/>
                  <a:pt x="208" y="355"/>
                </a:cubicBezTo>
                <a:lnTo>
                  <a:pt x="216" y="350"/>
                </a:lnTo>
                <a:close/>
                <a:moveTo>
                  <a:pt x="221" y="245"/>
                </a:moveTo>
                <a:cubicBezTo>
                  <a:pt x="213" y="239"/>
                  <a:pt x="213" y="239"/>
                  <a:pt x="213" y="239"/>
                </a:cubicBezTo>
                <a:cubicBezTo>
                  <a:pt x="215" y="235"/>
                  <a:pt x="218" y="232"/>
                  <a:pt x="221" y="228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6" y="238"/>
                  <a:pt x="223" y="241"/>
                  <a:pt x="221" y="245"/>
                </a:cubicBezTo>
                <a:close/>
                <a:moveTo>
                  <a:pt x="231" y="370"/>
                </a:moveTo>
                <a:cubicBezTo>
                  <a:pt x="234" y="373"/>
                  <a:pt x="237" y="376"/>
                  <a:pt x="240" y="378"/>
                </a:cubicBezTo>
                <a:cubicBezTo>
                  <a:pt x="234" y="386"/>
                  <a:pt x="234" y="386"/>
                  <a:pt x="234" y="386"/>
                </a:cubicBezTo>
                <a:cubicBezTo>
                  <a:pt x="230" y="383"/>
                  <a:pt x="227" y="380"/>
                  <a:pt x="224" y="377"/>
                </a:cubicBezTo>
                <a:lnTo>
                  <a:pt x="231" y="370"/>
                </a:lnTo>
                <a:close/>
                <a:moveTo>
                  <a:pt x="231" y="219"/>
                </a:moveTo>
                <a:cubicBezTo>
                  <a:pt x="234" y="216"/>
                  <a:pt x="238" y="213"/>
                  <a:pt x="242" y="211"/>
                </a:cubicBezTo>
                <a:cubicBezTo>
                  <a:pt x="247" y="219"/>
                  <a:pt x="247" y="219"/>
                  <a:pt x="247" y="219"/>
                </a:cubicBezTo>
                <a:cubicBezTo>
                  <a:pt x="244" y="221"/>
                  <a:pt x="241" y="224"/>
                  <a:pt x="237" y="226"/>
                </a:cubicBezTo>
                <a:lnTo>
                  <a:pt x="231" y="219"/>
                </a:lnTo>
                <a:close/>
                <a:moveTo>
                  <a:pt x="293" y="193"/>
                </a:moveTo>
                <a:cubicBezTo>
                  <a:pt x="294" y="203"/>
                  <a:pt x="294" y="203"/>
                  <a:pt x="294" y="203"/>
                </a:cubicBezTo>
                <a:cubicBezTo>
                  <a:pt x="289" y="203"/>
                  <a:pt x="285" y="203"/>
                  <a:pt x="281" y="204"/>
                </a:cubicBezTo>
                <a:cubicBezTo>
                  <a:pt x="279" y="195"/>
                  <a:pt x="279" y="195"/>
                  <a:pt x="279" y="195"/>
                </a:cubicBezTo>
                <a:cubicBezTo>
                  <a:pt x="284" y="194"/>
                  <a:pt x="288" y="193"/>
                  <a:pt x="293" y="193"/>
                </a:cubicBezTo>
                <a:close/>
                <a:moveTo>
                  <a:pt x="258" y="213"/>
                </a:moveTo>
                <a:cubicBezTo>
                  <a:pt x="254" y="204"/>
                  <a:pt x="254" y="204"/>
                  <a:pt x="254" y="204"/>
                </a:cubicBezTo>
                <a:cubicBezTo>
                  <a:pt x="258" y="202"/>
                  <a:pt x="262" y="200"/>
                  <a:pt x="266" y="199"/>
                </a:cubicBezTo>
                <a:cubicBezTo>
                  <a:pt x="269" y="208"/>
                  <a:pt x="269" y="208"/>
                  <a:pt x="269" y="208"/>
                </a:cubicBezTo>
                <a:cubicBezTo>
                  <a:pt x="265" y="209"/>
                  <a:pt x="262" y="211"/>
                  <a:pt x="258" y="213"/>
                </a:cubicBezTo>
                <a:close/>
                <a:moveTo>
                  <a:pt x="269" y="101"/>
                </a:moveTo>
                <a:cubicBezTo>
                  <a:pt x="269" y="176"/>
                  <a:pt x="269" y="176"/>
                  <a:pt x="269" y="176"/>
                </a:cubicBezTo>
                <a:cubicBezTo>
                  <a:pt x="246" y="182"/>
                  <a:pt x="226" y="194"/>
                  <a:pt x="210" y="210"/>
                </a:cubicBezTo>
                <a:cubicBezTo>
                  <a:pt x="145" y="172"/>
                  <a:pt x="145" y="172"/>
                  <a:pt x="145" y="172"/>
                </a:cubicBezTo>
                <a:cubicBezTo>
                  <a:pt x="176" y="135"/>
                  <a:pt x="219" y="109"/>
                  <a:pt x="269" y="101"/>
                </a:cubicBezTo>
                <a:close/>
                <a:moveTo>
                  <a:pt x="112" y="373"/>
                </a:moveTo>
                <a:cubicBezTo>
                  <a:pt x="103" y="351"/>
                  <a:pt x="99" y="326"/>
                  <a:pt x="99" y="301"/>
                </a:cubicBezTo>
                <a:cubicBezTo>
                  <a:pt x="99" y="276"/>
                  <a:pt x="103" y="252"/>
                  <a:pt x="112" y="230"/>
                </a:cubicBezTo>
                <a:cubicBezTo>
                  <a:pt x="177" y="267"/>
                  <a:pt x="177" y="267"/>
                  <a:pt x="177" y="267"/>
                </a:cubicBezTo>
                <a:cubicBezTo>
                  <a:pt x="174" y="278"/>
                  <a:pt x="172" y="290"/>
                  <a:pt x="172" y="301"/>
                </a:cubicBezTo>
                <a:cubicBezTo>
                  <a:pt x="172" y="313"/>
                  <a:pt x="174" y="324"/>
                  <a:pt x="177" y="335"/>
                </a:cubicBezTo>
                <a:lnTo>
                  <a:pt x="112" y="373"/>
                </a:lnTo>
                <a:close/>
                <a:moveTo>
                  <a:pt x="269" y="502"/>
                </a:moveTo>
                <a:cubicBezTo>
                  <a:pt x="219" y="494"/>
                  <a:pt x="176" y="468"/>
                  <a:pt x="145" y="431"/>
                </a:cubicBezTo>
                <a:cubicBezTo>
                  <a:pt x="210" y="393"/>
                  <a:pt x="210" y="393"/>
                  <a:pt x="210" y="393"/>
                </a:cubicBezTo>
                <a:cubicBezTo>
                  <a:pt x="226" y="409"/>
                  <a:pt x="246" y="421"/>
                  <a:pt x="269" y="427"/>
                </a:cubicBezTo>
                <a:lnTo>
                  <a:pt x="269" y="502"/>
                </a:lnTo>
                <a:close/>
                <a:moveTo>
                  <a:pt x="283" y="408"/>
                </a:moveTo>
                <a:cubicBezTo>
                  <a:pt x="278" y="408"/>
                  <a:pt x="274" y="407"/>
                  <a:pt x="270" y="405"/>
                </a:cubicBezTo>
                <a:cubicBezTo>
                  <a:pt x="273" y="396"/>
                  <a:pt x="273" y="396"/>
                  <a:pt x="273" y="396"/>
                </a:cubicBezTo>
                <a:cubicBezTo>
                  <a:pt x="277" y="397"/>
                  <a:pt x="281" y="398"/>
                  <a:pt x="285" y="399"/>
                </a:cubicBezTo>
                <a:lnTo>
                  <a:pt x="283" y="408"/>
                </a:lnTo>
                <a:close/>
                <a:moveTo>
                  <a:pt x="302" y="410"/>
                </a:moveTo>
                <a:cubicBezTo>
                  <a:pt x="300" y="410"/>
                  <a:pt x="298" y="410"/>
                  <a:pt x="296" y="410"/>
                </a:cubicBezTo>
                <a:cubicBezTo>
                  <a:pt x="297" y="400"/>
                  <a:pt x="297" y="400"/>
                  <a:pt x="297" y="400"/>
                </a:cubicBezTo>
                <a:cubicBezTo>
                  <a:pt x="301" y="401"/>
                  <a:pt x="305" y="400"/>
                  <a:pt x="309" y="400"/>
                </a:cubicBezTo>
                <a:cubicBezTo>
                  <a:pt x="310" y="410"/>
                  <a:pt x="310" y="410"/>
                  <a:pt x="310" y="410"/>
                </a:cubicBezTo>
                <a:cubicBezTo>
                  <a:pt x="307" y="410"/>
                  <a:pt x="305" y="410"/>
                  <a:pt x="302" y="410"/>
                </a:cubicBezTo>
                <a:close/>
                <a:moveTo>
                  <a:pt x="322" y="399"/>
                </a:moveTo>
                <a:cubicBezTo>
                  <a:pt x="326" y="398"/>
                  <a:pt x="330" y="397"/>
                  <a:pt x="334" y="395"/>
                </a:cubicBezTo>
                <a:cubicBezTo>
                  <a:pt x="337" y="405"/>
                  <a:pt x="337" y="405"/>
                  <a:pt x="337" y="405"/>
                </a:cubicBezTo>
                <a:cubicBezTo>
                  <a:pt x="332" y="406"/>
                  <a:pt x="328" y="407"/>
                  <a:pt x="323" y="408"/>
                </a:cubicBezTo>
                <a:lnTo>
                  <a:pt x="322" y="399"/>
                </a:lnTo>
                <a:close/>
                <a:moveTo>
                  <a:pt x="336" y="502"/>
                </a:moveTo>
                <a:cubicBezTo>
                  <a:pt x="336" y="427"/>
                  <a:pt x="336" y="427"/>
                  <a:pt x="336" y="427"/>
                </a:cubicBezTo>
                <a:cubicBezTo>
                  <a:pt x="358" y="421"/>
                  <a:pt x="378" y="409"/>
                  <a:pt x="394" y="393"/>
                </a:cubicBezTo>
                <a:cubicBezTo>
                  <a:pt x="459" y="431"/>
                  <a:pt x="459" y="431"/>
                  <a:pt x="459" y="431"/>
                </a:cubicBezTo>
                <a:cubicBezTo>
                  <a:pt x="429" y="468"/>
                  <a:pt x="385" y="494"/>
                  <a:pt x="336" y="502"/>
                </a:cubicBezTo>
                <a:close/>
                <a:moveTo>
                  <a:pt x="493" y="373"/>
                </a:moveTo>
                <a:cubicBezTo>
                  <a:pt x="428" y="335"/>
                  <a:pt x="428" y="335"/>
                  <a:pt x="428" y="335"/>
                </a:cubicBezTo>
                <a:cubicBezTo>
                  <a:pt x="431" y="324"/>
                  <a:pt x="432" y="313"/>
                  <a:pt x="432" y="301"/>
                </a:cubicBezTo>
                <a:cubicBezTo>
                  <a:pt x="432" y="290"/>
                  <a:pt x="431" y="278"/>
                  <a:pt x="428" y="267"/>
                </a:cubicBezTo>
                <a:cubicBezTo>
                  <a:pt x="493" y="230"/>
                  <a:pt x="493" y="230"/>
                  <a:pt x="493" y="230"/>
                </a:cubicBezTo>
                <a:cubicBezTo>
                  <a:pt x="501" y="252"/>
                  <a:pt x="506" y="276"/>
                  <a:pt x="506" y="301"/>
                </a:cubicBezTo>
                <a:cubicBezTo>
                  <a:pt x="506" y="326"/>
                  <a:pt x="501" y="351"/>
                  <a:pt x="493" y="373"/>
                </a:cubicBezTo>
                <a:close/>
              </a:path>
            </a:pathLst>
          </a:custGeom>
          <a:solidFill>
            <a:srgbClr val="6366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7" name="Freeform 16">
            <a:extLst>
              <a:ext uri="{FF2B5EF4-FFF2-40B4-BE49-F238E27FC236}">
                <a16:creationId xmlns:a16="http://schemas.microsoft.com/office/drawing/2014/main" id="{8897D4D2-9F13-4A87-FAFD-9830E1A78874}"/>
              </a:ext>
            </a:extLst>
          </p:cNvPr>
          <p:cNvSpPr>
            <a:spLocks noEditPoints="1"/>
          </p:cNvSpPr>
          <p:nvPr/>
        </p:nvSpPr>
        <p:spPr bwMode="auto">
          <a:xfrm>
            <a:off x="4825017" y="3171858"/>
            <a:ext cx="782517" cy="778320"/>
          </a:xfrm>
          <a:custGeom>
            <a:avLst/>
            <a:gdLst>
              <a:gd name="T0" fmla="*/ 351 w 394"/>
              <a:gd name="T1" fmla="*/ 134 h 392"/>
              <a:gd name="T2" fmla="*/ 355 w 394"/>
              <a:gd name="T3" fmla="*/ 77 h 392"/>
              <a:gd name="T4" fmla="*/ 321 w 394"/>
              <a:gd name="T5" fmla="*/ 85 h 392"/>
              <a:gd name="T6" fmla="*/ 305 w 394"/>
              <a:gd name="T7" fmla="*/ 30 h 392"/>
              <a:gd name="T8" fmla="*/ 276 w 394"/>
              <a:gd name="T9" fmla="*/ 49 h 392"/>
              <a:gd name="T10" fmla="*/ 242 w 394"/>
              <a:gd name="T11" fmla="*/ 3 h 392"/>
              <a:gd name="T12" fmla="*/ 221 w 394"/>
              <a:gd name="T13" fmla="*/ 31 h 392"/>
              <a:gd name="T14" fmla="*/ 173 w 394"/>
              <a:gd name="T15" fmla="*/ 0 h 392"/>
              <a:gd name="T16" fmla="*/ 163 w 394"/>
              <a:gd name="T17" fmla="*/ 33 h 392"/>
              <a:gd name="T18" fmla="*/ 107 w 394"/>
              <a:gd name="T19" fmla="*/ 20 h 392"/>
              <a:gd name="T20" fmla="*/ 110 w 394"/>
              <a:gd name="T21" fmla="*/ 54 h 392"/>
              <a:gd name="T22" fmla="*/ 53 w 394"/>
              <a:gd name="T23" fmla="*/ 61 h 392"/>
              <a:gd name="T24" fmla="*/ 67 w 394"/>
              <a:gd name="T25" fmla="*/ 93 h 392"/>
              <a:gd name="T26" fmla="*/ 15 w 394"/>
              <a:gd name="T27" fmla="*/ 118 h 392"/>
              <a:gd name="T28" fmla="*/ 39 w 394"/>
              <a:gd name="T29" fmla="*/ 144 h 392"/>
              <a:gd name="T30" fmla="*/ 0 w 394"/>
              <a:gd name="T31" fmla="*/ 185 h 392"/>
              <a:gd name="T32" fmla="*/ 31 w 394"/>
              <a:gd name="T33" fmla="*/ 196 h 392"/>
              <a:gd name="T34" fmla="*/ 0 w 394"/>
              <a:gd name="T35" fmla="*/ 206 h 392"/>
              <a:gd name="T36" fmla="*/ 39 w 394"/>
              <a:gd name="T37" fmla="*/ 248 h 392"/>
              <a:gd name="T38" fmla="*/ 15 w 394"/>
              <a:gd name="T39" fmla="*/ 273 h 392"/>
              <a:gd name="T40" fmla="*/ 67 w 394"/>
              <a:gd name="T41" fmla="*/ 299 h 392"/>
              <a:gd name="T42" fmla="*/ 53 w 394"/>
              <a:gd name="T43" fmla="*/ 331 h 392"/>
              <a:gd name="T44" fmla="*/ 110 w 394"/>
              <a:gd name="T45" fmla="*/ 337 h 392"/>
              <a:gd name="T46" fmla="*/ 107 w 394"/>
              <a:gd name="T47" fmla="*/ 372 h 392"/>
              <a:gd name="T48" fmla="*/ 163 w 394"/>
              <a:gd name="T49" fmla="*/ 359 h 392"/>
              <a:gd name="T50" fmla="*/ 173 w 394"/>
              <a:gd name="T51" fmla="*/ 392 h 392"/>
              <a:gd name="T52" fmla="*/ 221 w 394"/>
              <a:gd name="T53" fmla="*/ 360 h 392"/>
              <a:gd name="T54" fmla="*/ 242 w 394"/>
              <a:gd name="T55" fmla="*/ 388 h 392"/>
              <a:gd name="T56" fmla="*/ 276 w 394"/>
              <a:gd name="T57" fmla="*/ 342 h 392"/>
              <a:gd name="T58" fmla="*/ 305 w 394"/>
              <a:gd name="T59" fmla="*/ 361 h 392"/>
              <a:gd name="T60" fmla="*/ 321 w 394"/>
              <a:gd name="T61" fmla="*/ 306 h 392"/>
              <a:gd name="T62" fmla="*/ 355 w 394"/>
              <a:gd name="T63" fmla="*/ 315 h 392"/>
              <a:gd name="T64" fmla="*/ 351 w 394"/>
              <a:gd name="T65" fmla="*/ 257 h 392"/>
              <a:gd name="T66" fmla="*/ 386 w 394"/>
              <a:gd name="T67" fmla="*/ 253 h 392"/>
              <a:gd name="T68" fmla="*/ 363 w 394"/>
              <a:gd name="T69" fmla="*/ 201 h 392"/>
              <a:gd name="T70" fmla="*/ 363 w 394"/>
              <a:gd name="T71" fmla="*/ 191 h 392"/>
              <a:gd name="T72" fmla="*/ 386 w 394"/>
              <a:gd name="T73" fmla="*/ 138 h 392"/>
              <a:gd name="T74" fmla="*/ 221 w 394"/>
              <a:gd name="T75" fmla="*/ 330 h 392"/>
              <a:gd name="T76" fmla="*/ 267 w 394"/>
              <a:gd name="T77" fmla="*/ 220 h 392"/>
              <a:gd name="T78" fmla="*/ 221 w 394"/>
              <a:gd name="T79" fmla="*/ 330 h 392"/>
              <a:gd name="T80" fmla="*/ 234 w 394"/>
              <a:gd name="T81" fmla="*/ 196 h 392"/>
              <a:gd name="T82" fmla="*/ 160 w 394"/>
              <a:gd name="T83" fmla="*/ 196 h 392"/>
              <a:gd name="T84" fmla="*/ 63 w 394"/>
              <a:gd name="T85" fmla="*/ 220 h 392"/>
              <a:gd name="T86" fmla="*/ 173 w 394"/>
              <a:gd name="T87" fmla="*/ 266 h 392"/>
              <a:gd name="T88" fmla="*/ 63 w 394"/>
              <a:gd name="T89" fmla="*/ 220 h 392"/>
              <a:gd name="T90" fmla="*/ 173 w 394"/>
              <a:gd name="T91" fmla="*/ 126 h 392"/>
              <a:gd name="T92" fmla="*/ 63 w 394"/>
              <a:gd name="T93" fmla="*/ 172 h 392"/>
              <a:gd name="T94" fmla="*/ 331 w 394"/>
              <a:gd name="T95" fmla="*/ 172 h 392"/>
              <a:gd name="T96" fmla="*/ 221 w 394"/>
              <a:gd name="T97" fmla="*/ 126 h 392"/>
              <a:gd name="T98" fmla="*/ 331 w 394"/>
              <a:gd name="T99" fmla="*/ 172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4" h="392">
                <a:moveTo>
                  <a:pt x="355" y="144"/>
                </a:moveTo>
                <a:cubicBezTo>
                  <a:pt x="354" y="141"/>
                  <a:pt x="353" y="137"/>
                  <a:pt x="351" y="134"/>
                </a:cubicBezTo>
                <a:cubicBezTo>
                  <a:pt x="379" y="118"/>
                  <a:pt x="379" y="118"/>
                  <a:pt x="379" y="118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27" y="93"/>
                  <a:pt x="327" y="93"/>
                  <a:pt x="327" y="93"/>
                </a:cubicBezTo>
                <a:cubicBezTo>
                  <a:pt x="325" y="90"/>
                  <a:pt x="323" y="88"/>
                  <a:pt x="321" y="85"/>
                </a:cubicBezTo>
                <a:cubicBezTo>
                  <a:pt x="341" y="61"/>
                  <a:pt x="341" y="61"/>
                  <a:pt x="341" y="6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284" y="54"/>
                  <a:pt x="284" y="54"/>
                  <a:pt x="284" y="54"/>
                </a:cubicBezTo>
                <a:cubicBezTo>
                  <a:pt x="282" y="53"/>
                  <a:pt x="279" y="51"/>
                  <a:pt x="276" y="49"/>
                </a:cubicBezTo>
                <a:cubicBezTo>
                  <a:pt x="287" y="20"/>
                  <a:pt x="287" y="20"/>
                  <a:pt x="287" y="20"/>
                </a:cubicBezTo>
                <a:cubicBezTo>
                  <a:pt x="242" y="3"/>
                  <a:pt x="242" y="3"/>
                  <a:pt x="242" y="3"/>
                </a:cubicBezTo>
                <a:cubicBezTo>
                  <a:pt x="231" y="33"/>
                  <a:pt x="231" y="33"/>
                  <a:pt x="231" y="33"/>
                </a:cubicBezTo>
                <a:cubicBezTo>
                  <a:pt x="227" y="32"/>
                  <a:pt x="224" y="32"/>
                  <a:pt x="221" y="31"/>
                </a:cubicBezTo>
                <a:cubicBezTo>
                  <a:pt x="221" y="0"/>
                  <a:pt x="221" y="0"/>
                  <a:pt x="221" y="0"/>
                </a:cubicBezTo>
                <a:cubicBezTo>
                  <a:pt x="173" y="0"/>
                  <a:pt x="173" y="0"/>
                  <a:pt x="173" y="0"/>
                </a:cubicBezTo>
                <a:cubicBezTo>
                  <a:pt x="173" y="31"/>
                  <a:pt x="173" y="31"/>
                  <a:pt x="173" y="31"/>
                </a:cubicBezTo>
                <a:cubicBezTo>
                  <a:pt x="170" y="32"/>
                  <a:pt x="166" y="32"/>
                  <a:pt x="163" y="33"/>
                </a:cubicBezTo>
                <a:cubicBezTo>
                  <a:pt x="152" y="3"/>
                  <a:pt x="152" y="3"/>
                  <a:pt x="152" y="3"/>
                </a:cubicBezTo>
                <a:cubicBezTo>
                  <a:pt x="107" y="20"/>
                  <a:pt x="107" y="20"/>
                  <a:pt x="107" y="20"/>
                </a:cubicBezTo>
                <a:cubicBezTo>
                  <a:pt x="118" y="49"/>
                  <a:pt x="118" y="49"/>
                  <a:pt x="118" y="49"/>
                </a:cubicBezTo>
                <a:cubicBezTo>
                  <a:pt x="115" y="51"/>
                  <a:pt x="112" y="53"/>
                  <a:pt x="110" y="54"/>
                </a:cubicBezTo>
                <a:cubicBezTo>
                  <a:pt x="89" y="30"/>
                  <a:pt x="89" y="30"/>
                  <a:pt x="89" y="30"/>
                </a:cubicBezTo>
                <a:cubicBezTo>
                  <a:pt x="53" y="61"/>
                  <a:pt x="53" y="61"/>
                  <a:pt x="53" y="61"/>
                </a:cubicBezTo>
                <a:cubicBezTo>
                  <a:pt x="73" y="85"/>
                  <a:pt x="73" y="85"/>
                  <a:pt x="73" y="85"/>
                </a:cubicBezTo>
                <a:cubicBezTo>
                  <a:pt x="71" y="88"/>
                  <a:pt x="69" y="90"/>
                  <a:pt x="67" y="93"/>
                </a:cubicBezTo>
                <a:cubicBezTo>
                  <a:pt x="39" y="77"/>
                  <a:pt x="39" y="77"/>
                  <a:pt x="39" y="77"/>
                </a:cubicBezTo>
                <a:cubicBezTo>
                  <a:pt x="15" y="118"/>
                  <a:pt x="15" y="118"/>
                  <a:pt x="15" y="118"/>
                </a:cubicBezTo>
                <a:cubicBezTo>
                  <a:pt x="43" y="134"/>
                  <a:pt x="43" y="134"/>
                  <a:pt x="43" y="134"/>
                </a:cubicBezTo>
                <a:cubicBezTo>
                  <a:pt x="41" y="137"/>
                  <a:pt x="40" y="141"/>
                  <a:pt x="39" y="144"/>
                </a:cubicBezTo>
                <a:cubicBezTo>
                  <a:pt x="8" y="138"/>
                  <a:pt x="8" y="138"/>
                  <a:pt x="8" y="138"/>
                </a:cubicBezTo>
                <a:cubicBezTo>
                  <a:pt x="0" y="185"/>
                  <a:pt x="0" y="185"/>
                  <a:pt x="0" y="185"/>
                </a:cubicBezTo>
                <a:cubicBezTo>
                  <a:pt x="31" y="191"/>
                  <a:pt x="31" y="191"/>
                  <a:pt x="31" y="191"/>
                </a:cubicBezTo>
                <a:cubicBezTo>
                  <a:pt x="31" y="193"/>
                  <a:pt x="31" y="194"/>
                  <a:pt x="31" y="196"/>
                </a:cubicBezTo>
                <a:cubicBezTo>
                  <a:pt x="31" y="197"/>
                  <a:pt x="31" y="199"/>
                  <a:pt x="31" y="201"/>
                </a:cubicBezTo>
                <a:cubicBezTo>
                  <a:pt x="0" y="206"/>
                  <a:pt x="0" y="206"/>
                  <a:pt x="0" y="206"/>
                </a:cubicBezTo>
                <a:cubicBezTo>
                  <a:pt x="8" y="253"/>
                  <a:pt x="8" y="253"/>
                  <a:pt x="8" y="253"/>
                </a:cubicBezTo>
                <a:cubicBezTo>
                  <a:pt x="39" y="248"/>
                  <a:pt x="39" y="248"/>
                  <a:pt x="39" y="248"/>
                </a:cubicBezTo>
                <a:cubicBezTo>
                  <a:pt x="40" y="251"/>
                  <a:pt x="41" y="254"/>
                  <a:pt x="43" y="257"/>
                </a:cubicBezTo>
                <a:cubicBezTo>
                  <a:pt x="15" y="273"/>
                  <a:pt x="15" y="273"/>
                  <a:pt x="15" y="273"/>
                </a:cubicBezTo>
                <a:cubicBezTo>
                  <a:pt x="39" y="315"/>
                  <a:pt x="39" y="315"/>
                  <a:pt x="39" y="315"/>
                </a:cubicBezTo>
                <a:cubicBezTo>
                  <a:pt x="67" y="299"/>
                  <a:pt x="67" y="299"/>
                  <a:pt x="67" y="299"/>
                </a:cubicBezTo>
                <a:cubicBezTo>
                  <a:pt x="69" y="301"/>
                  <a:pt x="71" y="304"/>
                  <a:pt x="73" y="306"/>
                </a:cubicBezTo>
                <a:cubicBezTo>
                  <a:pt x="53" y="331"/>
                  <a:pt x="53" y="331"/>
                  <a:pt x="53" y="331"/>
                </a:cubicBezTo>
                <a:cubicBezTo>
                  <a:pt x="89" y="361"/>
                  <a:pt x="89" y="361"/>
                  <a:pt x="89" y="361"/>
                </a:cubicBezTo>
                <a:cubicBezTo>
                  <a:pt x="110" y="337"/>
                  <a:pt x="110" y="337"/>
                  <a:pt x="110" y="337"/>
                </a:cubicBezTo>
                <a:cubicBezTo>
                  <a:pt x="112" y="339"/>
                  <a:pt x="115" y="341"/>
                  <a:pt x="118" y="342"/>
                </a:cubicBezTo>
                <a:cubicBezTo>
                  <a:pt x="107" y="372"/>
                  <a:pt x="107" y="372"/>
                  <a:pt x="107" y="372"/>
                </a:cubicBezTo>
                <a:cubicBezTo>
                  <a:pt x="152" y="388"/>
                  <a:pt x="152" y="388"/>
                  <a:pt x="152" y="388"/>
                </a:cubicBezTo>
                <a:cubicBezTo>
                  <a:pt x="163" y="359"/>
                  <a:pt x="163" y="359"/>
                  <a:pt x="163" y="359"/>
                </a:cubicBezTo>
                <a:cubicBezTo>
                  <a:pt x="166" y="359"/>
                  <a:pt x="170" y="360"/>
                  <a:pt x="173" y="360"/>
                </a:cubicBezTo>
                <a:cubicBezTo>
                  <a:pt x="173" y="392"/>
                  <a:pt x="173" y="392"/>
                  <a:pt x="173" y="392"/>
                </a:cubicBezTo>
                <a:cubicBezTo>
                  <a:pt x="221" y="392"/>
                  <a:pt x="221" y="392"/>
                  <a:pt x="221" y="392"/>
                </a:cubicBezTo>
                <a:cubicBezTo>
                  <a:pt x="221" y="360"/>
                  <a:pt x="221" y="360"/>
                  <a:pt x="221" y="360"/>
                </a:cubicBezTo>
                <a:cubicBezTo>
                  <a:pt x="224" y="360"/>
                  <a:pt x="227" y="359"/>
                  <a:pt x="231" y="359"/>
                </a:cubicBezTo>
                <a:cubicBezTo>
                  <a:pt x="242" y="388"/>
                  <a:pt x="242" y="388"/>
                  <a:pt x="242" y="388"/>
                </a:cubicBezTo>
                <a:cubicBezTo>
                  <a:pt x="287" y="372"/>
                  <a:pt x="287" y="372"/>
                  <a:pt x="287" y="372"/>
                </a:cubicBezTo>
                <a:cubicBezTo>
                  <a:pt x="276" y="342"/>
                  <a:pt x="276" y="342"/>
                  <a:pt x="276" y="342"/>
                </a:cubicBezTo>
                <a:cubicBezTo>
                  <a:pt x="279" y="341"/>
                  <a:pt x="282" y="339"/>
                  <a:pt x="284" y="337"/>
                </a:cubicBezTo>
                <a:cubicBezTo>
                  <a:pt x="305" y="361"/>
                  <a:pt x="305" y="361"/>
                  <a:pt x="305" y="361"/>
                </a:cubicBezTo>
                <a:cubicBezTo>
                  <a:pt x="341" y="331"/>
                  <a:pt x="341" y="331"/>
                  <a:pt x="341" y="331"/>
                </a:cubicBezTo>
                <a:cubicBezTo>
                  <a:pt x="321" y="306"/>
                  <a:pt x="321" y="306"/>
                  <a:pt x="321" y="306"/>
                </a:cubicBezTo>
                <a:cubicBezTo>
                  <a:pt x="323" y="304"/>
                  <a:pt x="325" y="301"/>
                  <a:pt x="327" y="299"/>
                </a:cubicBezTo>
                <a:cubicBezTo>
                  <a:pt x="355" y="315"/>
                  <a:pt x="355" y="315"/>
                  <a:pt x="355" y="315"/>
                </a:cubicBezTo>
                <a:cubicBezTo>
                  <a:pt x="379" y="273"/>
                  <a:pt x="379" y="273"/>
                  <a:pt x="379" y="273"/>
                </a:cubicBezTo>
                <a:cubicBezTo>
                  <a:pt x="351" y="257"/>
                  <a:pt x="351" y="257"/>
                  <a:pt x="351" y="257"/>
                </a:cubicBezTo>
                <a:cubicBezTo>
                  <a:pt x="353" y="254"/>
                  <a:pt x="354" y="251"/>
                  <a:pt x="355" y="248"/>
                </a:cubicBezTo>
                <a:cubicBezTo>
                  <a:pt x="386" y="253"/>
                  <a:pt x="386" y="253"/>
                  <a:pt x="386" y="253"/>
                </a:cubicBezTo>
                <a:cubicBezTo>
                  <a:pt x="394" y="206"/>
                  <a:pt x="394" y="206"/>
                  <a:pt x="394" y="206"/>
                </a:cubicBezTo>
                <a:cubicBezTo>
                  <a:pt x="363" y="201"/>
                  <a:pt x="363" y="201"/>
                  <a:pt x="363" y="201"/>
                </a:cubicBezTo>
                <a:cubicBezTo>
                  <a:pt x="363" y="199"/>
                  <a:pt x="363" y="197"/>
                  <a:pt x="363" y="196"/>
                </a:cubicBezTo>
                <a:cubicBezTo>
                  <a:pt x="363" y="194"/>
                  <a:pt x="363" y="193"/>
                  <a:pt x="363" y="191"/>
                </a:cubicBezTo>
                <a:cubicBezTo>
                  <a:pt x="394" y="185"/>
                  <a:pt x="394" y="185"/>
                  <a:pt x="394" y="185"/>
                </a:cubicBezTo>
                <a:cubicBezTo>
                  <a:pt x="386" y="138"/>
                  <a:pt x="386" y="138"/>
                  <a:pt x="386" y="138"/>
                </a:cubicBezTo>
                <a:lnTo>
                  <a:pt x="355" y="144"/>
                </a:lnTo>
                <a:close/>
                <a:moveTo>
                  <a:pt x="221" y="330"/>
                </a:moveTo>
                <a:cubicBezTo>
                  <a:pt x="221" y="266"/>
                  <a:pt x="221" y="266"/>
                  <a:pt x="221" y="266"/>
                </a:cubicBezTo>
                <a:cubicBezTo>
                  <a:pt x="243" y="259"/>
                  <a:pt x="260" y="241"/>
                  <a:pt x="267" y="220"/>
                </a:cubicBezTo>
                <a:cubicBezTo>
                  <a:pt x="331" y="220"/>
                  <a:pt x="331" y="220"/>
                  <a:pt x="331" y="220"/>
                </a:cubicBezTo>
                <a:cubicBezTo>
                  <a:pt x="321" y="276"/>
                  <a:pt x="277" y="320"/>
                  <a:pt x="221" y="330"/>
                </a:cubicBezTo>
                <a:close/>
                <a:moveTo>
                  <a:pt x="197" y="158"/>
                </a:moveTo>
                <a:cubicBezTo>
                  <a:pt x="218" y="158"/>
                  <a:pt x="234" y="175"/>
                  <a:pt x="234" y="196"/>
                </a:cubicBezTo>
                <a:cubicBezTo>
                  <a:pt x="234" y="216"/>
                  <a:pt x="218" y="233"/>
                  <a:pt x="197" y="233"/>
                </a:cubicBezTo>
                <a:cubicBezTo>
                  <a:pt x="176" y="233"/>
                  <a:pt x="160" y="216"/>
                  <a:pt x="160" y="196"/>
                </a:cubicBezTo>
                <a:cubicBezTo>
                  <a:pt x="160" y="175"/>
                  <a:pt x="176" y="158"/>
                  <a:pt x="197" y="158"/>
                </a:cubicBezTo>
                <a:close/>
                <a:moveTo>
                  <a:pt x="63" y="220"/>
                </a:moveTo>
                <a:cubicBezTo>
                  <a:pt x="127" y="220"/>
                  <a:pt x="127" y="220"/>
                  <a:pt x="127" y="220"/>
                </a:cubicBezTo>
                <a:cubicBezTo>
                  <a:pt x="134" y="241"/>
                  <a:pt x="151" y="259"/>
                  <a:pt x="173" y="266"/>
                </a:cubicBezTo>
                <a:cubicBezTo>
                  <a:pt x="173" y="330"/>
                  <a:pt x="173" y="330"/>
                  <a:pt x="173" y="330"/>
                </a:cubicBezTo>
                <a:cubicBezTo>
                  <a:pt x="117" y="320"/>
                  <a:pt x="73" y="276"/>
                  <a:pt x="63" y="220"/>
                </a:cubicBezTo>
                <a:close/>
                <a:moveTo>
                  <a:pt x="173" y="62"/>
                </a:moveTo>
                <a:cubicBezTo>
                  <a:pt x="173" y="126"/>
                  <a:pt x="173" y="126"/>
                  <a:pt x="173" y="126"/>
                </a:cubicBezTo>
                <a:cubicBezTo>
                  <a:pt x="151" y="133"/>
                  <a:pt x="134" y="150"/>
                  <a:pt x="127" y="172"/>
                </a:cubicBezTo>
                <a:cubicBezTo>
                  <a:pt x="63" y="172"/>
                  <a:pt x="63" y="172"/>
                  <a:pt x="63" y="172"/>
                </a:cubicBezTo>
                <a:cubicBezTo>
                  <a:pt x="73" y="116"/>
                  <a:pt x="117" y="72"/>
                  <a:pt x="173" y="62"/>
                </a:cubicBezTo>
                <a:close/>
                <a:moveTo>
                  <a:pt x="331" y="172"/>
                </a:moveTo>
                <a:cubicBezTo>
                  <a:pt x="267" y="172"/>
                  <a:pt x="267" y="172"/>
                  <a:pt x="267" y="172"/>
                </a:cubicBezTo>
                <a:cubicBezTo>
                  <a:pt x="260" y="150"/>
                  <a:pt x="243" y="133"/>
                  <a:pt x="221" y="126"/>
                </a:cubicBezTo>
                <a:cubicBezTo>
                  <a:pt x="221" y="62"/>
                  <a:pt x="221" y="62"/>
                  <a:pt x="221" y="62"/>
                </a:cubicBezTo>
                <a:cubicBezTo>
                  <a:pt x="277" y="72"/>
                  <a:pt x="321" y="116"/>
                  <a:pt x="331" y="172"/>
                </a:cubicBezTo>
                <a:close/>
              </a:path>
            </a:pathLst>
          </a:custGeom>
          <a:solidFill>
            <a:srgbClr val="00257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8" name="Group 20">
            <a:extLst>
              <a:ext uri="{FF2B5EF4-FFF2-40B4-BE49-F238E27FC236}">
                <a16:creationId xmlns:a16="http://schemas.microsoft.com/office/drawing/2014/main" id="{F080E1C5-DC9C-5053-9433-DDF64C54369D}"/>
              </a:ext>
            </a:extLst>
          </p:cNvPr>
          <p:cNvGrpSpPr/>
          <p:nvPr/>
        </p:nvGrpSpPr>
        <p:grpSpPr>
          <a:xfrm>
            <a:off x="5783360" y="3338146"/>
            <a:ext cx="877410" cy="871216"/>
            <a:chOff x="5686767" y="3296748"/>
            <a:chExt cx="877410" cy="871216"/>
          </a:xfrm>
          <a:solidFill>
            <a:srgbClr val="046A38"/>
          </a:solidFill>
        </p:grpSpPr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DFF86117-1DC3-8E7B-52E6-4182C3B60E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767" y="3296748"/>
              <a:ext cx="877410" cy="871216"/>
            </a:xfrm>
            <a:custGeom>
              <a:avLst/>
              <a:gdLst>
                <a:gd name="T0" fmla="*/ 480 w 539"/>
                <a:gd name="T1" fmla="*/ 183 h 535"/>
                <a:gd name="T2" fmla="*/ 485 w 539"/>
                <a:gd name="T3" fmla="*/ 105 h 535"/>
                <a:gd name="T4" fmla="*/ 439 w 539"/>
                <a:gd name="T5" fmla="*/ 116 h 535"/>
                <a:gd name="T6" fmla="*/ 417 w 539"/>
                <a:gd name="T7" fmla="*/ 41 h 535"/>
                <a:gd name="T8" fmla="*/ 377 w 539"/>
                <a:gd name="T9" fmla="*/ 67 h 535"/>
                <a:gd name="T10" fmla="*/ 331 w 539"/>
                <a:gd name="T11" fmla="*/ 5 h 535"/>
                <a:gd name="T12" fmla="*/ 302 w 539"/>
                <a:gd name="T13" fmla="*/ 43 h 535"/>
                <a:gd name="T14" fmla="*/ 237 w 539"/>
                <a:gd name="T15" fmla="*/ 0 h 535"/>
                <a:gd name="T16" fmla="*/ 224 w 539"/>
                <a:gd name="T17" fmla="*/ 45 h 535"/>
                <a:gd name="T18" fmla="*/ 147 w 539"/>
                <a:gd name="T19" fmla="*/ 27 h 535"/>
                <a:gd name="T20" fmla="*/ 150 w 539"/>
                <a:gd name="T21" fmla="*/ 74 h 535"/>
                <a:gd name="T22" fmla="*/ 72 w 539"/>
                <a:gd name="T23" fmla="*/ 83 h 535"/>
                <a:gd name="T24" fmla="*/ 92 w 539"/>
                <a:gd name="T25" fmla="*/ 127 h 535"/>
                <a:gd name="T26" fmla="*/ 21 w 539"/>
                <a:gd name="T27" fmla="*/ 162 h 535"/>
                <a:gd name="T28" fmla="*/ 54 w 539"/>
                <a:gd name="T29" fmla="*/ 196 h 535"/>
                <a:gd name="T30" fmla="*/ 0 w 539"/>
                <a:gd name="T31" fmla="*/ 253 h 535"/>
                <a:gd name="T32" fmla="*/ 43 w 539"/>
                <a:gd name="T33" fmla="*/ 267 h 535"/>
                <a:gd name="T34" fmla="*/ 0 w 539"/>
                <a:gd name="T35" fmla="*/ 282 h 535"/>
                <a:gd name="T36" fmla="*/ 54 w 539"/>
                <a:gd name="T37" fmla="*/ 338 h 535"/>
                <a:gd name="T38" fmla="*/ 21 w 539"/>
                <a:gd name="T39" fmla="*/ 373 h 535"/>
                <a:gd name="T40" fmla="*/ 92 w 539"/>
                <a:gd name="T41" fmla="*/ 408 h 535"/>
                <a:gd name="T42" fmla="*/ 72 w 539"/>
                <a:gd name="T43" fmla="*/ 451 h 535"/>
                <a:gd name="T44" fmla="*/ 150 w 539"/>
                <a:gd name="T45" fmla="*/ 460 h 535"/>
                <a:gd name="T46" fmla="*/ 147 w 539"/>
                <a:gd name="T47" fmla="*/ 508 h 535"/>
                <a:gd name="T48" fmla="*/ 224 w 539"/>
                <a:gd name="T49" fmla="*/ 489 h 535"/>
                <a:gd name="T50" fmla="*/ 237 w 539"/>
                <a:gd name="T51" fmla="*/ 535 h 535"/>
                <a:gd name="T52" fmla="*/ 302 w 539"/>
                <a:gd name="T53" fmla="*/ 492 h 535"/>
                <a:gd name="T54" fmla="*/ 331 w 539"/>
                <a:gd name="T55" fmla="*/ 530 h 535"/>
                <a:gd name="T56" fmla="*/ 377 w 539"/>
                <a:gd name="T57" fmla="*/ 467 h 535"/>
                <a:gd name="T58" fmla="*/ 417 w 539"/>
                <a:gd name="T59" fmla="*/ 493 h 535"/>
                <a:gd name="T60" fmla="*/ 439 w 539"/>
                <a:gd name="T61" fmla="*/ 418 h 535"/>
                <a:gd name="T62" fmla="*/ 485 w 539"/>
                <a:gd name="T63" fmla="*/ 430 h 535"/>
                <a:gd name="T64" fmla="*/ 480 w 539"/>
                <a:gd name="T65" fmla="*/ 351 h 535"/>
                <a:gd name="T66" fmla="*/ 528 w 539"/>
                <a:gd name="T67" fmla="*/ 346 h 535"/>
                <a:gd name="T68" fmla="*/ 496 w 539"/>
                <a:gd name="T69" fmla="*/ 274 h 535"/>
                <a:gd name="T70" fmla="*/ 496 w 539"/>
                <a:gd name="T71" fmla="*/ 261 h 535"/>
                <a:gd name="T72" fmla="*/ 528 w 539"/>
                <a:gd name="T73" fmla="*/ 189 h 535"/>
                <a:gd name="T74" fmla="*/ 454 w 539"/>
                <a:gd name="T75" fmla="*/ 267 h 535"/>
                <a:gd name="T76" fmla="*/ 85 w 539"/>
                <a:gd name="T77" fmla="*/ 267 h 535"/>
                <a:gd name="T78" fmla="*/ 454 w 539"/>
                <a:gd name="T79" fmla="*/ 26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39" h="535">
                  <a:moveTo>
                    <a:pt x="485" y="196"/>
                  </a:moveTo>
                  <a:cubicBezTo>
                    <a:pt x="484" y="192"/>
                    <a:pt x="482" y="188"/>
                    <a:pt x="480" y="183"/>
                  </a:cubicBezTo>
                  <a:cubicBezTo>
                    <a:pt x="518" y="162"/>
                    <a:pt x="518" y="162"/>
                    <a:pt x="518" y="162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448" y="127"/>
                    <a:pt x="448" y="127"/>
                    <a:pt x="448" y="127"/>
                  </a:cubicBezTo>
                  <a:cubicBezTo>
                    <a:pt x="445" y="123"/>
                    <a:pt x="442" y="120"/>
                    <a:pt x="439" y="116"/>
                  </a:cubicBezTo>
                  <a:cubicBezTo>
                    <a:pt x="467" y="83"/>
                    <a:pt x="467" y="83"/>
                    <a:pt x="467" y="83"/>
                  </a:cubicBezTo>
                  <a:cubicBezTo>
                    <a:pt x="417" y="41"/>
                    <a:pt x="417" y="41"/>
                    <a:pt x="417" y="41"/>
                  </a:cubicBezTo>
                  <a:cubicBezTo>
                    <a:pt x="389" y="74"/>
                    <a:pt x="389" y="74"/>
                    <a:pt x="389" y="74"/>
                  </a:cubicBezTo>
                  <a:cubicBezTo>
                    <a:pt x="385" y="72"/>
                    <a:pt x="381" y="70"/>
                    <a:pt x="377" y="67"/>
                  </a:cubicBezTo>
                  <a:cubicBezTo>
                    <a:pt x="392" y="27"/>
                    <a:pt x="392" y="27"/>
                    <a:pt x="392" y="27"/>
                  </a:cubicBezTo>
                  <a:cubicBezTo>
                    <a:pt x="331" y="5"/>
                    <a:pt x="331" y="5"/>
                    <a:pt x="331" y="5"/>
                  </a:cubicBezTo>
                  <a:cubicBezTo>
                    <a:pt x="316" y="45"/>
                    <a:pt x="316" y="45"/>
                    <a:pt x="316" y="45"/>
                  </a:cubicBezTo>
                  <a:cubicBezTo>
                    <a:pt x="311" y="44"/>
                    <a:pt x="307" y="43"/>
                    <a:pt x="302" y="43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2" y="43"/>
                    <a:pt x="228" y="44"/>
                    <a:pt x="224" y="45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147" y="27"/>
                    <a:pt x="147" y="27"/>
                    <a:pt x="147" y="2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58" y="70"/>
                    <a:pt x="154" y="72"/>
                    <a:pt x="150" y="74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97" y="120"/>
                    <a:pt x="94" y="123"/>
                    <a:pt x="92" y="127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21" y="162"/>
                    <a:pt x="21" y="162"/>
                    <a:pt x="21" y="162"/>
                  </a:cubicBezTo>
                  <a:cubicBezTo>
                    <a:pt x="59" y="183"/>
                    <a:pt x="59" y="183"/>
                    <a:pt x="59" y="183"/>
                  </a:cubicBezTo>
                  <a:cubicBezTo>
                    <a:pt x="57" y="188"/>
                    <a:pt x="56" y="192"/>
                    <a:pt x="54" y="196"/>
                  </a:cubicBezTo>
                  <a:cubicBezTo>
                    <a:pt x="12" y="189"/>
                    <a:pt x="12" y="189"/>
                    <a:pt x="12" y="18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3" y="263"/>
                    <a:pt x="43" y="265"/>
                    <a:pt x="43" y="267"/>
                  </a:cubicBezTo>
                  <a:cubicBezTo>
                    <a:pt x="43" y="270"/>
                    <a:pt x="43" y="272"/>
                    <a:pt x="43" y="274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2" y="346"/>
                    <a:pt x="12" y="346"/>
                    <a:pt x="12" y="346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6" y="343"/>
                    <a:pt x="57" y="347"/>
                    <a:pt x="59" y="351"/>
                  </a:cubicBezTo>
                  <a:cubicBezTo>
                    <a:pt x="21" y="373"/>
                    <a:pt x="21" y="373"/>
                    <a:pt x="21" y="373"/>
                  </a:cubicBezTo>
                  <a:cubicBezTo>
                    <a:pt x="54" y="430"/>
                    <a:pt x="54" y="430"/>
                    <a:pt x="54" y="430"/>
                  </a:cubicBezTo>
                  <a:cubicBezTo>
                    <a:pt x="92" y="408"/>
                    <a:pt x="92" y="408"/>
                    <a:pt x="92" y="408"/>
                  </a:cubicBezTo>
                  <a:cubicBezTo>
                    <a:pt x="94" y="411"/>
                    <a:pt x="97" y="415"/>
                    <a:pt x="100" y="418"/>
                  </a:cubicBezTo>
                  <a:cubicBezTo>
                    <a:pt x="72" y="451"/>
                    <a:pt x="72" y="451"/>
                    <a:pt x="72" y="451"/>
                  </a:cubicBezTo>
                  <a:cubicBezTo>
                    <a:pt x="123" y="493"/>
                    <a:pt x="123" y="493"/>
                    <a:pt x="123" y="493"/>
                  </a:cubicBezTo>
                  <a:cubicBezTo>
                    <a:pt x="150" y="460"/>
                    <a:pt x="150" y="460"/>
                    <a:pt x="150" y="460"/>
                  </a:cubicBezTo>
                  <a:cubicBezTo>
                    <a:pt x="154" y="463"/>
                    <a:pt x="158" y="465"/>
                    <a:pt x="162" y="467"/>
                  </a:cubicBezTo>
                  <a:cubicBezTo>
                    <a:pt x="147" y="508"/>
                    <a:pt x="147" y="508"/>
                    <a:pt x="147" y="508"/>
                  </a:cubicBezTo>
                  <a:cubicBezTo>
                    <a:pt x="209" y="530"/>
                    <a:pt x="209" y="530"/>
                    <a:pt x="209" y="530"/>
                  </a:cubicBezTo>
                  <a:cubicBezTo>
                    <a:pt x="224" y="489"/>
                    <a:pt x="224" y="489"/>
                    <a:pt x="224" y="489"/>
                  </a:cubicBezTo>
                  <a:cubicBezTo>
                    <a:pt x="228" y="490"/>
                    <a:pt x="232" y="491"/>
                    <a:pt x="237" y="492"/>
                  </a:cubicBezTo>
                  <a:cubicBezTo>
                    <a:pt x="237" y="535"/>
                    <a:pt x="237" y="535"/>
                    <a:pt x="237" y="535"/>
                  </a:cubicBezTo>
                  <a:cubicBezTo>
                    <a:pt x="302" y="535"/>
                    <a:pt x="302" y="535"/>
                    <a:pt x="302" y="535"/>
                  </a:cubicBezTo>
                  <a:cubicBezTo>
                    <a:pt x="302" y="492"/>
                    <a:pt x="302" y="492"/>
                    <a:pt x="302" y="492"/>
                  </a:cubicBezTo>
                  <a:cubicBezTo>
                    <a:pt x="307" y="491"/>
                    <a:pt x="311" y="490"/>
                    <a:pt x="316" y="489"/>
                  </a:cubicBezTo>
                  <a:cubicBezTo>
                    <a:pt x="331" y="530"/>
                    <a:pt x="331" y="530"/>
                    <a:pt x="331" y="530"/>
                  </a:cubicBezTo>
                  <a:cubicBezTo>
                    <a:pt x="392" y="508"/>
                    <a:pt x="392" y="508"/>
                    <a:pt x="392" y="508"/>
                  </a:cubicBezTo>
                  <a:cubicBezTo>
                    <a:pt x="377" y="467"/>
                    <a:pt x="377" y="467"/>
                    <a:pt x="377" y="467"/>
                  </a:cubicBezTo>
                  <a:cubicBezTo>
                    <a:pt x="381" y="465"/>
                    <a:pt x="385" y="463"/>
                    <a:pt x="389" y="460"/>
                  </a:cubicBezTo>
                  <a:cubicBezTo>
                    <a:pt x="417" y="493"/>
                    <a:pt x="417" y="493"/>
                    <a:pt x="417" y="493"/>
                  </a:cubicBezTo>
                  <a:cubicBezTo>
                    <a:pt x="467" y="451"/>
                    <a:pt x="467" y="451"/>
                    <a:pt x="467" y="451"/>
                  </a:cubicBezTo>
                  <a:cubicBezTo>
                    <a:pt x="439" y="418"/>
                    <a:pt x="439" y="418"/>
                    <a:pt x="439" y="418"/>
                  </a:cubicBezTo>
                  <a:cubicBezTo>
                    <a:pt x="442" y="415"/>
                    <a:pt x="445" y="411"/>
                    <a:pt x="448" y="408"/>
                  </a:cubicBezTo>
                  <a:cubicBezTo>
                    <a:pt x="485" y="430"/>
                    <a:pt x="485" y="430"/>
                    <a:pt x="485" y="430"/>
                  </a:cubicBezTo>
                  <a:cubicBezTo>
                    <a:pt x="518" y="373"/>
                    <a:pt x="518" y="373"/>
                    <a:pt x="518" y="373"/>
                  </a:cubicBezTo>
                  <a:cubicBezTo>
                    <a:pt x="480" y="351"/>
                    <a:pt x="480" y="351"/>
                    <a:pt x="480" y="351"/>
                  </a:cubicBezTo>
                  <a:cubicBezTo>
                    <a:pt x="482" y="347"/>
                    <a:pt x="484" y="343"/>
                    <a:pt x="485" y="338"/>
                  </a:cubicBezTo>
                  <a:cubicBezTo>
                    <a:pt x="528" y="346"/>
                    <a:pt x="528" y="346"/>
                    <a:pt x="528" y="346"/>
                  </a:cubicBezTo>
                  <a:cubicBezTo>
                    <a:pt x="539" y="282"/>
                    <a:pt x="539" y="282"/>
                    <a:pt x="539" y="282"/>
                  </a:cubicBezTo>
                  <a:cubicBezTo>
                    <a:pt x="496" y="274"/>
                    <a:pt x="496" y="274"/>
                    <a:pt x="496" y="274"/>
                  </a:cubicBezTo>
                  <a:cubicBezTo>
                    <a:pt x="496" y="272"/>
                    <a:pt x="497" y="270"/>
                    <a:pt x="497" y="267"/>
                  </a:cubicBezTo>
                  <a:cubicBezTo>
                    <a:pt x="497" y="265"/>
                    <a:pt x="496" y="263"/>
                    <a:pt x="496" y="261"/>
                  </a:cubicBezTo>
                  <a:cubicBezTo>
                    <a:pt x="539" y="253"/>
                    <a:pt x="539" y="253"/>
                    <a:pt x="539" y="253"/>
                  </a:cubicBezTo>
                  <a:cubicBezTo>
                    <a:pt x="528" y="189"/>
                    <a:pt x="528" y="189"/>
                    <a:pt x="528" y="189"/>
                  </a:cubicBezTo>
                  <a:lnTo>
                    <a:pt x="485" y="196"/>
                  </a:lnTo>
                  <a:close/>
                  <a:moveTo>
                    <a:pt x="454" y="267"/>
                  </a:moveTo>
                  <a:cubicBezTo>
                    <a:pt x="454" y="369"/>
                    <a:pt x="372" y="452"/>
                    <a:pt x="270" y="452"/>
                  </a:cubicBezTo>
                  <a:cubicBezTo>
                    <a:pt x="168" y="452"/>
                    <a:pt x="85" y="369"/>
                    <a:pt x="85" y="267"/>
                  </a:cubicBezTo>
                  <a:cubicBezTo>
                    <a:pt x="85" y="165"/>
                    <a:pt x="168" y="83"/>
                    <a:pt x="270" y="83"/>
                  </a:cubicBezTo>
                  <a:cubicBezTo>
                    <a:pt x="372" y="83"/>
                    <a:pt x="454" y="165"/>
                    <a:pt x="454" y="267"/>
                  </a:cubicBezTo>
                  <a:close/>
                </a:path>
              </a:pathLst>
            </a:cu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0" name="Freeform 20">
              <a:extLst>
                <a:ext uri="{FF2B5EF4-FFF2-40B4-BE49-F238E27FC236}">
                  <a16:creationId xmlns:a16="http://schemas.microsoft.com/office/drawing/2014/main" id="{318FDD63-ACB7-0D35-3636-AFF553E32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6614" y="3525219"/>
              <a:ext cx="417716" cy="414963"/>
            </a:xfrm>
            <a:custGeom>
              <a:avLst/>
              <a:gdLst>
                <a:gd name="T0" fmla="*/ 229 w 257"/>
                <a:gd name="T1" fmla="*/ 87 h 255"/>
                <a:gd name="T2" fmla="*/ 231 w 257"/>
                <a:gd name="T3" fmla="*/ 50 h 255"/>
                <a:gd name="T4" fmla="*/ 209 w 257"/>
                <a:gd name="T5" fmla="*/ 55 h 255"/>
                <a:gd name="T6" fmla="*/ 199 w 257"/>
                <a:gd name="T7" fmla="*/ 19 h 255"/>
                <a:gd name="T8" fmla="*/ 180 w 257"/>
                <a:gd name="T9" fmla="*/ 32 h 255"/>
                <a:gd name="T10" fmla="*/ 158 w 257"/>
                <a:gd name="T11" fmla="*/ 2 h 255"/>
                <a:gd name="T12" fmla="*/ 144 w 257"/>
                <a:gd name="T13" fmla="*/ 20 h 255"/>
                <a:gd name="T14" fmla="*/ 113 w 257"/>
                <a:gd name="T15" fmla="*/ 0 h 255"/>
                <a:gd name="T16" fmla="*/ 107 w 257"/>
                <a:gd name="T17" fmla="*/ 21 h 255"/>
                <a:gd name="T18" fmla="*/ 70 w 257"/>
                <a:gd name="T19" fmla="*/ 13 h 255"/>
                <a:gd name="T20" fmla="*/ 72 w 257"/>
                <a:gd name="T21" fmla="*/ 35 h 255"/>
                <a:gd name="T22" fmla="*/ 35 w 257"/>
                <a:gd name="T23" fmla="*/ 39 h 255"/>
                <a:gd name="T24" fmla="*/ 44 w 257"/>
                <a:gd name="T25" fmla="*/ 60 h 255"/>
                <a:gd name="T26" fmla="*/ 10 w 257"/>
                <a:gd name="T27" fmla="*/ 77 h 255"/>
                <a:gd name="T28" fmla="*/ 26 w 257"/>
                <a:gd name="T29" fmla="*/ 93 h 255"/>
                <a:gd name="T30" fmla="*/ 0 w 257"/>
                <a:gd name="T31" fmla="*/ 120 h 255"/>
                <a:gd name="T32" fmla="*/ 20 w 257"/>
                <a:gd name="T33" fmla="*/ 127 h 255"/>
                <a:gd name="T34" fmla="*/ 0 w 257"/>
                <a:gd name="T35" fmla="*/ 134 h 255"/>
                <a:gd name="T36" fmla="*/ 26 w 257"/>
                <a:gd name="T37" fmla="*/ 161 h 255"/>
                <a:gd name="T38" fmla="*/ 10 w 257"/>
                <a:gd name="T39" fmla="*/ 178 h 255"/>
                <a:gd name="T40" fmla="*/ 44 w 257"/>
                <a:gd name="T41" fmla="*/ 194 h 255"/>
                <a:gd name="T42" fmla="*/ 35 w 257"/>
                <a:gd name="T43" fmla="*/ 215 h 255"/>
                <a:gd name="T44" fmla="*/ 72 w 257"/>
                <a:gd name="T45" fmla="*/ 219 h 255"/>
                <a:gd name="T46" fmla="*/ 70 w 257"/>
                <a:gd name="T47" fmla="*/ 242 h 255"/>
                <a:gd name="T48" fmla="*/ 107 w 257"/>
                <a:gd name="T49" fmla="*/ 233 h 255"/>
                <a:gd name="T50" fmla="*/ 113 w 257"/>
                <a:gd name="T51" fmla="*/ 255 h 255"/>
                <a:gd name="T52" fmla="*/ 144 w 257"/>
                <a:gd name="T53" fmla="*/ 234 h 255"/>
                <a:gd name="T54" fmla="*/ 158 w 257"/>
                <a:gd name="T55" fmla="*/ 253 h 255"/>
                <a:gd name="T56" fmla="*/ 180 w 257"/>
                <a:gd name="T57" fmla="*/ 223 h 255"/>
                <a:gd name="T58" fmla="*/ 199 w 257"/>
                <a:gd name="T59" fmla="*/ 235 h 255"/>
                <a:gd name="T60" fmla="*/ 209 w 257"/>
                <a:gd name="T61" fmla="*/ 199 h 255"/>
                <a:gd name="T62" fmla="*/ 231 w 257"/>
                <a:gd name="T63" fmla="*/ 205 h 255"/>
                <a:gd name="T64" fmla="*/ 229 w 257"/>
                <a:gd name="T65" fmla="*/ 167 h 255"/>
                <a:gd name="T66" fmla="*/ 252 w 257"/>
                <a:gd name="T67" fmla="*/ 165 h 255"/>
                <a:gd name="T68" fmla="*/ 237 w 257"/>
                <a:gd name="T69" fmla="*/ 131 h 255"/>
                <a:gd name="T70" fmla="*/ 237 w 257"/>
                <a:gd name="T71" fmla="*/ 124 h 255"/>
                <a:gd name="T72" fmla="*/ 252 w 257"/>
                <a:gd name="T73" fmla="*/ 90 h 255"/>
                <a:gd name="T74" fmla="*/ 217 w 257"/>
                <a:gd name="T75" fmla="*/ 127 h 255"/>
                <a:gd name="T76" fmla="*/ 41 w 257"/>
                <a:gd name="T77" fmla="*/ 127 h 255"/>
                <a:gd name="T78" fmla="*/ 217 w 257"/>
                <a:gd name="T79" fmla="*/ 12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7" h="255">
                  <a:moveTo>
                    <a:pt x="231" y="93"/>
                  </a:moveTo>
                  <a:cubicBezTo>
                    <a:pt x="231" y="91"/>
                    <a:pt x="230" y="89"/>
                    <a:pt x="229" y="8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31" y="50"/>
                    <a:pt x="231" y="50"/>
                    <a:pt x="231" y="50"/>
                  </a:cubicBezTo>
                  <a:cubicBezTo>
                    <a:pt x="214" y="60"/>
                    <a:pt x="214" y="60"/>
                    <a:pt x="214" y="60"/>
                  </a:cubicBezTo>
                  <a:cubicBezTo>
                    <a:pt x="212" y="59"/>
                    <a:pt x="211" y="57"/>
                    <a:pt x="209" y="55"/>
                  </a:cubicBezTo>
                  <a:cubicBezTo>
                    <a:pt x="223" y="39"/>
                    <a:pt x="223" y="39"/>
                    <a:pt x="223" y="3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4" y="34"/>
                    <a:pt x="182" y="33"/>
                    <a:pt x="180" y="32"/>
                  </a:cubicBezTo>
                  <a:cubicBezTo>
                    <a:pt x="187" y="13"/>
                    <a:pt x="187" y="13"/>
                    <a:pt x="187" y="13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1" y="21"/>
                    <a:pt x="151" y="21"/>
                    <a:pt x="151" y="21"/>
                  </a:cubicBezTo>
                  <a:cubicBezTo>
                    <a:pt x="149" y="21"/>
                    <a:pt x="146" y="21"/>
                    <a:pt x="144" y="2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1" y="21"/>
                    <a:pt x="109" y="21"/>
                    <a:pt x="107" y="21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5" y="33"/>
                    <a:pt x="74" y="34"/>
                    <a:pt x="72" y="35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6" y="57"/>
                    <a:pt x="45" y="59"/>
                    <a:pt x="44" y="6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7" y="89"/>
                    <a:pt x="27" y="91"/>
                    <a:pt x="2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20" y="125"/>
                    <a:pt x="20" y="126"/>
                    <a:pt x="20" y="127"/>
                  </a:cubicBezTo>
                  <a:cubicBezTo>
                    <a:pt x="20" y="128"/>
                    <a:pt x="20" y="129"/>
                    <a:pt x="21" y="131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6" y="165"/>
                    <a:pt x="6" y="165"/>
                    <a:pt x="6" y="165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7" y="163"/>
                    <a:pt x="27" y="165"/>
                    <a:pt x="28" y="167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4" y="194"/>
                    <a:pt x="44" y="194"/>
                    <a:pt x="44" y="194"/>
                  </a:cubicBezTo>
                  <a:cubicBezTo>
                    <a:pt x="45" y="196"/>
                    <a:pt x="46" y="198"/>
                    <a:pt x="48" y="199"/>
                  </a:cubicBezTo>
                  <a:cubicBezTo>
                    <a:pt x="35" y="215"/>
                    <a:pt x="35" y="215"/>
                    <a:pt x="35" y="215"/>
                  </a:cubicBezTo>
                  <a:cubicBezTo>
                    <a:pt x="59" y="235"/>
                    <a:pt x="59" y="235"/>
                    <a:pt x="59" y="235"/>
                  </a:cubicBezTo>
                  <a:cubicBezTo>
                    <a:pt x="72" y="219"/>
                    <a:pt x="72" y="219"/>
                    <a:pt x="72" y="219"/>
                  </a:cubicBezTo>
                  <a:cubicBezTo>
                    <a:pt x="74" y="220"/>
                    <a:pt x="75" y="222"/>
                    <a:pt x="77" y="223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100" y="253"/>
                    <a:pt x="100" y="253"/>
                    <a:pt x="100" y="253"/>
                  </a:cubicBezTo>
                  <a:cubicBezTo>
                    <a:pt x="107" y="233"/>
                    <a:pt x="107" y="233"/>
                    <a:pt x="107" y="233"/>
                  </a:cubicBezTo>
                  <a:cubicBezTo>
                    <a:pt x="109" y="234"/>
                    <a:pt x="111" y="234"/>
                    <a:pt x="113" y="234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44" y="255"/>
                    <a:pt x="144" y="255"/>
                    <a:pt x="144" y="255"/>
                  </a:cubicBezTo>
                  <a:cubicBezTo>
                    <a:pt x="144" y="234"/>
                    <a:pt x="144" y="234"/>
                    <a:pt x="144" y="234"/>
                  </a:cubicBezTo>
                  <a:cubicBezTo>
                    <a:pt x="146" y="234"/>
                    <a:pt x="149" y="234"/>
                    <a:pt x="151" y="233"/>
                  </a:cubicBezTo>
                  <a:cubicBezTo>
                    <a:pt x="158" y="253"/>
                    <a:pt x="158" y="253"/>
                    <a:pt x="158" y="253"/>
                  </a:cubicBezTo>
                  <a:cubicBezTo>
                    <a:pt x="187" y="242"/>
                    <a:pt x="187" y="242"/>
                    <a:pt x="187" y="242"/>
                  </a:cubicBezTo>
                  <a:cubicBezTo>
                    <a:pt x="180" y="223"/>
                    <a:pt x="180" y="223"/>
                    <a:pt x="180" y="223"/>
                  </a:cubicBezTo>
                  <a:cubicBezTo>
                    <a:pt x="182" y="222"/>
                    <a:pt x="184" y="220"/>
                    <a:pt x="186" y="219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223" y="215"/>
                    <a:pt x="223" y="215"/>
                    <a:pt x="223" y="215"/>
                  </a:cubicBezTo>
                  <a:cubicBezTo>
                    <a:pt x="209" y="199"/>
                    <a:pt x="209" y="199"/>
                    <a:pt x="209" y="199"/>
                  </a:cubicBezTo>
                  <a:cubicBezTo>
                    <a:pt x="211" y="198"/>
                    <a:pt x="212" y="196"/>
                    <a:pt x="214" y="194"/>
                  </a:cubicBezTo>
                  <a:cubicBezTo>
                    <a:pt x="231" y="205"/>
                    <a:pt x="231" y="205"/>
                    <a:pt x="231" y="205"/>
                  </a:cubicBezTo>
                  <a:cubicBezTo>
                    <a:pt x="247" y="178"/>
                    <a:pt x="247" y="178"/>
                    <a:pt x="247" y="178"/>
                  </a:cubicBezTo>
                  <a:cubicBezTo>
                    <a:pt x="229" y="167"/>
                    <a:pt x="229" y="167"/>
                    <a:pt x="229" y="167"/>
                  </a:cubicBezTo>
                  <a:cubicBezTo>
                    <a:pt x="230" y="165"/>
                    <a:pt x="231" y="163"/>
                    <a:pt x="231" y="161"/>
                  </a:cubicBezTo>
                  <a:cubicBezTo>
                    <a:pt x="252" y="165"/>
                    <a:pt x="252" y="165"/>
                    <a:pt x="252" y="165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7" y="131"/>
                    <a:pt x="237" y="131"/>
                    <a:pt x="237" y="131"/>
                  </a:cubicBezTo>
                  <a:cubicBezTo>
                    <a:pt x="237" y="129"/>
                    <a:pt x="237" y="128"/>
                    <a:pt x="237" y="127"/>
                  </a:cubicBezTo>
                  <a:cubicBezTo>
                    <a:pt x="237" y="126"/>
                    <a:pt x="237" y="125"/>
                    <a:pt x="237" y="124"/>
                  </a:cubicBezTo>
                  <a:cubicBezTo>
                    <a:pt x="257" y="120"/>
                    <a:pt x="257" y="120"/>
                    <a:pt x="257" y="120"/>
                  </a:cubicBezTo>
                  <a:cubicBezTo>
                    <a:pt x="252" y="90"/>
                    <a:pt x="252" y="90"/>
                    <a:pt x="252" y="90"/>
                  </a:cubicBezTo>
                  <a:lnTo>
                    <a:pt x="231" y="93"/>
                  </a:lnTo>
                  <a:close/>
                  <a:moveTo>
                    <a:pt x="217" y="127"/>
                  </a:moveTo>
                  <a:cubicBezTo>
                    <a:pt x="217" y="176"/>
                    <a:pt x="177" y="215"/>
                    <a:pt x="129" y="215"/>
                  </a:cubicBezTo>
                  <a:cubicBezTo>
                    <a:pt x="80" y="215"/>
                    <a:pt x="41" y="176"/>
                    <a:pt x="41" y="127"/>
                  </a:cubicBezTo>
                  <a:cubicBezTo>
                    <a:pt x="41" y="79"/>
                    <a:pt x="80" y="39"/>
                    <a:pt x="129" y="39"/>
                  </a:cubicBezTo>
                  <a:cubicBezTo>
                    <a:pt x="177" y="39"/>
                    <a:pt x="217" y="79"/>
                    <a:pt x="217" y="127"/>
                  </a:cubicBezTo>
                  <a:close/>
                </a:path>
              </a:pathLst>
            </a:cu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1" name="Rectangle 21">
              <a:extLst>
                <a:ext uri="{FF2B5EF4-FFF2-40B4-BE49-F238E27FC236}">
                  <a16:creationId xmlns:a16="http://schemas.microsoft.com/office/drawing/2014/main" id="{95604735-84A4-EB6C-F0E2-DCD533C5D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2053" y="3409607"/>
              <a:ext cx="28903" cy="657197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2" name="Rectangle 22">
              <a:extLst>
                <a:ext uri="{FF2B5EF4-FFF2-40B4-BE49-F238E27FC236}">
                  <a16:creationId xmlns:a16="http://schemas.microsoft.com/office/drawing/2014/main" id="{2683202C-6973-DF23-34FA-AAFB5186C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7562" y="3723410"/>
              <a:ext cx="657197" cy="29591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Open Sans"/>
              </a:endParaRPr>
            </a:p>
          </p:txBody>
        </p:sp>
      </p:grpSp>
      <p:grpSp>
        <p:nvGrpSpPr>
          <p:cNvPr id="13" name="Group 21">
            <a:extLst>
              <a:ext uri="{FF2B5EF4-FFF2-40B4-BE49-F238E27FC236}">
                <a16:creationId xmlns:a16="http://schemas.microsoft.com/office/drawing/2014/main" id="{6CBC52AD-6639-3E36-F48C-5FC3666DA98F}"/>
              </a:ext>
            </a:extLst>
          </p:cNvPr>
          <p:cNvGrpSpPr/>
          <p:nvPr/>
        </p:nvGrpSpPr>
        <p:grpSpPr>
          <a:xfrm>
            <a:off x="5376655" y="2524736"/>
            <a:ext cx="887044" cy="1038440"/>
            <a:chOff x="5280062" y="2483338"/>
            <a:chExt cx="887044" cy="1038440"/>
          </a:xfrm>
          <a:solidFill>
            <a:srgbClr val="000000"/>
          </a:solidFill>
        </p:grpSpPr>
        <p:sp>
          <p:nvSpPr>
            <p:cNvPr id="14" name="Line 17">
              <a:extLst>
                <a:ext uri="{FF2B5EF4-FFF2-40B4-BE49-F238E27FC236}">
                  <a16:creationId xmlns:a16="http://schemas.microsoft.com/office/drawing/2014/main" id="{C4E4AC84-916F-29A5-181B-561F7D5FB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0664" y="352177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5" name="Line 18">
              <a:extLst>
                <a:ext uri="{FF2B5EF4-FFF2-40B4-BE49-F238E27FC236}">
                  <a16:creationId xmlns:a16="http://schemas.microsoft.com/office/drawing/2014/main" id="{D094A003-3519-587B-1007-08D18E1F64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0664" y="352177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C8CDF975-D185-41AA-93F9-F15D9C958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0062" y="2483338"/>
              <a:ext cx="887044" cy="880163"/>
            </a:xfrm>
            <a:custGeom>
              <a:avLst/>
              <a:gdLst>
                <a:gd name="T0" fmla="*/ 533 w 545"/>
                <a:gd name="T1" fmla="*/ 191 h 541"/>
                <a:gd name="T2" fmla="*/ 490 w 545"/>
                <a:gd name="T3" fmla="*/ 106 h 541"/>
                <a:gd name="T4" fmla="*/ 421 w 545"/>
                <a:gd name="T5" fmla="*/ 42 h 541"/>
                <a:gd name="T6" fmla="*/ 334 w 545"/>
                <a:gd name="T7" fmla="*/ 5 h 541"/>
                <a:gd name="T8" fmla="*/ 239 w 545"/>
                <a:gd name="T9" fmla="*/ 0 h 541"/>
                <a:gd name="T10" fmla="*/ 149 w 545"/>
                <a:gd name="T11" fmla="*/ 27 h 541"/>
                <a:gd name="T12" fmla="*/ 73 w 545"/>
                <a:gd name="T13" fmla="*/ 84 h 541"/>
                <a:gd name="T14" fmla="*/ 22 w 545"/>
                <a:gd name="T15" fmla="*/ 164 h 541"/>
                <a:gd name="T16" fmla="*/ 0 w 545"/>
                <a:gd name="T17" fmla="*/ 256 h 541"/>
                <a:gd name="T18" fmla="*/ 0 w 545"/>
                <a:gd name="T19" fmla="*/ 285 h 541"/>
                <a:gd name="T20" fmla="*/ 22 w 545"/>
                <a:gd name="T21" fmla="*/ 377 h 541"/>
                <a:gd name="T22" fmla="*/ 73 w 545"/>
                <a:gd name="T23" fmla="*/ 456 h 541"/>
                <a:gd name="T24" fmla="*/ 149 w 545"/>
                <a:gd name="T25" fmla="*/ 513 h 541"/>
                <a:gd name="T26" fmla="*/ 239 w 545"/>
                <a:gd name="T27" fmla="*/ 541 h 541"/>
                <a:gd name="T28" fmla="*/ 334 w 545"/>
                <a:gd name="T29" fmla="*/ 536 h 541"/>
                <a:gd name="T30" fmla="*/ 421 w 545"/>
                <a:gd name="T31" fmla="*/ 499 h 541"/>
                <a:gd name="T32" fmla="*/ 490 w 545"/>
                <a:gd name="T33" fmla="*/ 434 h 541"/>
                <a:gd name="T34" fmla="*/ 533 w 545"/>
                <a:gd name="T35" fmla="*/ 350 h 541"/>
                <a:gd name="T36" fmla="*/ 448 w 545"/>
                <a:gd name="T37" fmla="*/ 154 h 541"/>
                <a:gd name="T38" fmla="*/ 448 w 545"/>
                <a:gd name="T39" fmla="*/ 154 h 541"/>
                <a:gd name="T40" fmla="*/ 399 w 545"/>
                <a:gd name="T41" fmla="*/ 114 h 541"/>
                <a:gd name="T42" fmla="*/ 349 w 545"/>
                <a:gd name="T43" fmla="*/ 74 h 541"/>
                <a:gd name="T44" fmla="*/ 277 w 545"/>
                <a:gd name="T45" fmla="*/ 60 h 541"/>
                <a:gd name="T46" fmla="*/ 194 w 545"/>
                <a:gd name="T47" fmla="*/ 66 h 541"/>
                <a:gd name="T48" fmla="*/ 194 w 545"/>
                <a:gd name="T49" fmla="*/ 66 h 541"/>
                <a:gd name="T50" fmla="*/ 128 w 545"/>
                <a:gd name="T51" fmla="*/ 117 h 541"/>
                <a:gd name="T52" fmla="*/ 74 w 545"/>
                <a:gd name="T53" fmla="*/ 239 h 541"/>
                <a:gd name="T54" fmla="*/ 58 w 545"/>
                <a:gd name="T55" fmla="*/ 312 h 541"/>
                <a:gd name="T56" fmla="*/ 81 w 545"/>
                <a:gd name="T57" fmla="*/ 164 h 541"/>
                <a:gd name="T58" fmla="*/ 81 w 545"/>
                <a:gd name="T59" fmla="*/ 164 h 541"/>
                <a:gd name="T60" fmla="*/ 100 w 545"/>
                <a:gd name="T61" fmla="*/ 374 h 541"/>
                <a:gd name="T62" fmla="*/ 134 w 545"/>
                <a:gd name="T63" fmla="*/ 428 h 541"/>
                <a:gd name="T64" fmla="*/ 201 w 545"/>
                <a:gd name="T65" fmla="*/ 477 h 541"/>
                <a:gd name="T66" fmla="*/ 276 w 545"/>
                <a:gd name="T67" fmla="*/ 489 h 541"/>
                <a:gd name="T68" fmla="*/ 276 w 545"/>
                <a:gd name="T69" fmla="*/ 489 h 541"/>
                <a:gd name="T70" fmla="*/ 356 w 545"/>
                <a:gd name="T71" fmla="*/ 463 h 541"/>
                <a:gd name="T72" fmla="*/ 405 w 545"/>
                <a:gd name="T73" fmla="*/ 422 h 541"/>
                <a:gd name="T74" fmla="*/ 413 w 545"/>
                <a:gd name="T75" fmla="*/ 317 h 541"/>
                <a:gd name="T76" fmla="*/ 389 w 545"/>
                <a:gd name="T77" fmla="*/ 362 h 541"/>
                <a:gd name="T78" fmla="*/ 350 w 545"/>
                <a:gd name="T79" fmla="*/ 396 h 541"/>
                <a:gd name="T80" fmla="*/ 303 w 545"/>
                <a:gd name="T81" fmla="*/ 416 h 541"/>
                <a:gd name="T82" fmla="*/ 251 w 545"/>
                <a:gd name="T83" fmla="*/ 417 h 541"/>
                <a:gd name="T84" fmla="*/ 202 w 545"/>
                <a:gd name="T85" fmla="*/ 401 h 541"/>
                <a:gd name="T86" fmla="*/ 162 w 545"/>
                <a:gd name="T87" fmla="*/ 369 h 541"/>
                <a:gd name="T88" fmla="*/ 135 w 545"/>
                <a:gd name="T89" fmla="*/ 325 h 541"/>
                <a:gd name="T90" fmla="*/ 124 w 545"/>
                <a:gd name="T91" fmla="*/ 275 h 541"/>
                <a:gd name="T92" fmla="*/ 104 w 545"/>
                <a:gd name="T93" fmla="*/ 219 h 541"/>
                <a:gd name="T94" fmla="*/ 131 w 545"/>
                <a:gd name="T95" fmla="*/ 164 h 541"/>
                <a:gd name="T96" fmla="*/ 176 w 545"/>
                <a:gd name="T97" fmla="*/ 122 h 541"/>
                <a:gd name="T98" fmla="*/ 233 w 545"/>
                <a:gd name="T99" fmla="*/ 98 h 541"/>
                <a:gd name="T100" fmla="*/ 294 w 545"/>
                <a:gd name="T101" fmla="*/ 95 h 541"/>
                <a:gd name="T102" fmla="*/ 352 w 545"/>
                <a:gd name="T103" fmla="*/ 113 h 541"/>
                <a:gd name="T104" fmla="*/ 401 w 545"/>
                <a:gd name="T105" fmla="*/ 150 h 541"/>
                <a:gd name="T106" fmla="*/ 435 w 545"/>
                <a:gd name="T107" fmla="*/ 201 h 541"/>
                <a:gd name="T108" fmla="*/ 449 w 545"/>
                <a:gd name="T109" fmla="*/ 261 h 541"/>
                <a:gd name="T110" fmla="*/ 449 w 545"/>
                <a:gd name="T111" fmla="*/ 280 h 541"/>
                <a:gd name="T112" fmla="*/ 449 w 545"/>
                <a:gd name="T113" fmla="*/ 368 h 541"/>
                <a:gd name="T114" fmla="*/ 487 w 545"/>
                <a:gd name="T115" fmla="*/ 228 h 541"/>
                <a:gd name="T116" fmla="*/ 489 w 545"/>
                <a:gd name="T117" fmla="*/ 304 h 541"/>
                <a:gd name="T118" fmla="*/ 489 w 545"/>
                <a:gd name="T119" fmla="*/ 30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5" h="541">
                  <a:moveTo>
                    <a:pt x="502" y="270"/>
                  </a:moveTo>
                  <a:cubicBezTo>
                    <a:pt x="502" y="268"/>
                    <a:pt x="502" y="266"/>
                    <a:pt x="501" y="263"/>
                  </a:cubicBezTo>
                  <a:cubicBezTo>
                    <a:pt x="545" y="256"/>
                    <a:pt x="545" y="256"/>
                    <a:pt x="545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9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7" y="121"/>
                    <a:pt x="444" y="118"/>
                  </a:cubicBezTo>
                  <a:cubicBezTo>
                    <a:pt x="472" y="84"/>
                    <a:pt x="472" y="84"/>
                    <a:pt x="472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0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5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5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0" y="70"/>
                    <a:pt x="156" y="73"/>
                    <a:pt x="152" y="75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3" y="12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8" y="190"/>
                    <a:pt x="56" y="194"/>
                    <a:pt x="55" y="198"/>
                  </a:cubicBezTo>
                  <a:cubicBezTo>
                    <a:pt x="12" y="191"/>
                    <a:pt x="12" y="191"/>
                    <a:pt x="12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2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2" y="350"/>
                    <a:pt x="12" y="350"/>
                    <a:pt x="12" y="350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6" y="346"/>
                    <a:pt x="58" y="351"/>
                    <a:pt x="59" y="355"/>
                  </a:cubicBezTo>
                  <a:cubicBezTo>
                    <a:pt x="22" y="377"/>
                    <a:pt x="22" y="377"/>
                    <a:pt x="22" y="377"/>
                  </a:cubicBezTo>
                  <a:cubicBezTo>
                    <a:pt x="55" y="434"/>
                    <a:pt x="55" y="434"/>
                    <a:pt x="55" y="434"/>
                  </a:cubicBezTo>
                  <a:cubicBezTo>
                    <a:pt x="93" y="412"/>
                    <a:pt x="93" y="412"/>
                    <a:pt x="93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4" y="499"/>
                    <a:pt x="124" y="499"/>
                    <a:pt x="124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6" y="468"/>
                    <a:pt x="160" y="470"/>
                    <a:pt x="164" y="472"/>
                  </a:cubicBezTo>
                  <a:cubicBezTo>
                    <a:pt x="149" y="513"/>
                    <a:pt x="149" y="513"/>
                    <a:pt x="149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5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5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2" y="456"/>
                    <a:pt x="472" y="456"/>
                    <a:pt x="472" y="456"/>
                  </a:cubicBezTo>
                  <a:cubicBezTo>
                    <a:pt x="444" y="423"/>
                    <a:pt x="444" y="423"/>
                    <a:pt x="444" y="423"/>
                  </a:cubicBezTo>
                  <a:cubicBezTo>
                    <a:pt x="447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9" y="346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5" y="285"/>
                    <a:pt x="545" y="285"/>
                    <a:pt x="545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2" y="275"/>
                    <a:pt x="502" y="272"/>
                    <a:pt x="502" y="270"/>
                  </a:cubicBezTo>
                  <a:close/>
                  <a:moveTo>
                    <a:pt x="448" y="154"/>
                  </a:moveTo>
                  <a:cubicBezTo>
                    <a:pt x="452" y="152"/>
                    <a:pt x="458" y="153"/>
                    <a:pt x="460" y="157"/>
                  </a:cubicBezTo>
                  <a:cubicBezTo>
                    <a:pt x="462" y="162"/>
                    <a:pt x="461" y="167"/>
                    <a:pt x="457" y="169"/>
                  </a:cubicBezTo>
                  <a:cubicBezTo>
                    <a:pt x="453" y="172"/>
                    <a:pt x="447" y="170"/>
                    <a:pt x="445" y="166"/>
                  </a:cubicBezTo>
                  <a:cubicBezTo>
                    <a:pt x="442" y="162"/>
                    <a:pt x="444" y="157"/>
                    <a:pt x="448" y="154"/>
                  </a:cubicBezTo>
                  <a:close/>
                  <a:moveTo>
                    <a:pt x="398" y="101"/>
                  </a:moveTo>
                  <a:cubicBezTo>
                    <a:pt x="401" y="97"/>
                    <a:pt x="406" y="97"/>
                    <a:pt x="410" y="100"/>
                  </a:cubicBezTo>
                  <a:cubicBezTo>
                    <a:pt x="414" y="103"/>
                    <a:pt x="414" y="109"/>
                    <a:pt x="411" y="112"/>
                  </a:cubicBezTo>
                  <a:cubicBezTo>
                    <a:pt x="408" y="116"/>
                    <a:pt x="403" y="117"/>
                    <a:pt x="399" y="114"/>
                  </a:cubicBezTo>
                  <a:cubicBezTo>
                    <a:pt x="395" y="110"/>
                    <a:pt x="395" y="105"/>
                    <a:pt x="398" y="101"/>
                  </a:cubicBezTo>
                  <a:close/>
                  <a:moveTo>
                    <a:pt x="332" y="68"/>
                  </a:moveTo>
                  <a:cubicBezTo>
                    <a:pt x="334" y="64"/>
                    <a:pt x="339" y="62"/>
                    <a:pt x="344" y="63"/>
                  </a:cubicBezTo>
                  <a:cubicBezTo>
                    <a:pt x="348" y="65"/>
                    <a:pt x="351" y="70"/>
                    <a:pt x="349" y="74"/>
                  </a:cubicBezTo>
                  <a:cubicBezTo>
                    <a:pt x="347" y="79"/>
                    <a:pt x="342" y="81"/>
                    <a:pt x="338" y="80"/>
                  </a:cubicBezTo>
                  <a:cubicBezTo>
                    <a:pt x="333" y="78"/>
                    <a:pt x="331" y="73"/>
                    <a:pt x="332" y="68"/>
                  </a:cubicBezTo>
                  <a:close/>
                  <a:moveTo>
                    <a:pt x="269" y="51"/>
                  </a:moveTo>
                  <a:cubicBezTo>
                    <a:pt x="273" y="51"/>
                    <a:pt x="277" y="55"/>
                    <a:pt x="277" y="60"/>
                  </a:cubicBezTo>
                  <a:cubicBezTo>
                    <a:pt x="277" y="65"/>
                    <a:pt x="273" y="69"/>
                    <a:pt x="269" y="69"/>
                  </a:cubicBezTo>
                  <a:cubicBezTo>
                    <a:pt x="264" y="69"/>
                    <a:pt x="260" y="65"/>
                    <a:pt x="260" y="60"/>
                  </a:cubicBezTo>
                  <a:cubicBezTo>
                    <a:pt x="260" y="55"/>
                    <a:pt x="264" y="51"/>
                    <a:pt x="269" y="51"/>
                  </a:cubicBezTo>
                  <a:close/>
                  <a:moveTo>
                    <a:pt x="194" y="66"/>
                  </a:moveTo>
                  <a:cubicBezTo>
                    <a:pt x="199" y="64"/>
                    <a:pt x="204" y="67"/>
                    <a:pt x="205" y="71"/>
                  </a:cubicBezTo>
                  <a:cubicBezTo>
                    <a:pt x="207" y="76"/>
                    <a:pt x="205" y="81"/>
                    <a:pt x="200" y="82"/>
                  </a:cubicBezTo>
                  <a:cubicBezTo>
                    <a:pt x="195" y="84"/>
                    <a:pt x="190" y="82"/>
                    <a:pt x="189" y="77"/>
                  </a:cubicBezTo>
                  <a:cubicBezTo>
                    <a:pt x="187" y="73"/>
                    <a:pt x="189" y="67"/>
                    <a:pt x="194" y="66"/>
                  </a:cubicBezTo>
                  <a:close/>
                  <a:moveTo>
                    <a:pt x="129" y="105"/>
                  </a:moveTo>
                  <a:cubicBezTo>
                    <a:pt x="133" y="102"/>
                    <a:pt x="138" y="102"/>
                    <a:pt x="141" y="106"/>
                  </a:cubicBezTo>
                  <a:cubicBezTo>
                    <a:pt x="144" y="110"/>
                    <a:pt x="144" y="115"/>
                    <a:pt x="140" y="118"/>
                  </a:cubicBezTo>
                  <a:cubicBezTo>
                    <a:pt x="136" y="122"/>
                    <a:pt x="131" y="121"/>
                    <a:pt x="128" y="117"/>
                  </a:cubicBezTo>
                  <a:cubicBezTo>
                    <a:pt x="125" y="114"/>
                    <a:pt x="125" y="108"/>
                    <a:pt x="129" y="105"/>
                  </a:cubicBezTo>
                  <a:close/>
                  <a:moveTo>
                    <a:pt x="56" y="236"/>
                  </a:moveTo>
                  <a:cubicBezTo>
                    <a:pt x="57" y="231"/>
                    <a:pt x="62" y="228"/>
                    <a:pt x="66" y="229"/>
                  </a:cubicBezTo>
                  <a:cubicBezTo>
                    <a:pt x="71" y="230"/>
                    <a:pt x="74" y="234"/>
                    <a:pt x="74" y="239"/>
                  </a:cubicBezTo>
                  <a:cubicBezTo>
                    <a:pt x="73" y="244"/>
                    <a:pt x="68" y="247"/>
                    <a:pt x="63" y="246"/>
                  </a:cubicBezTo>
                  <a:cubicBezTo>
                    <a:pt x="59" y="245"/>
                    <a:pt x="55" y="241"/>
                    <a:pt x="56" y="236"/>
                  </a:cubicBezTo>
                  <a:close/>
                  <a:moveTo>
                    <a:pt x="68" y="319"/>
                  </a:moveTo>
                  <a:cubicBezTo>
                    <a:pt x="63" y="320"/>
                    <a:pt x="58" y="317"/>
                    <a:pt x="58" y="312"/>
                  </a:cubicBezTo>
                  <a:cubicBezTo>
                    <a:pt x="57" y="307"/>
                    <a:pt x="60" y="303"/>
                    <a:pt x="65" y="302"/>
                  </a:cubicBezTo>
                  <a:cubicBezTo>
                    <a:pt x="69" y="301"/>
                    <a:pt x="74" y="304"/>
                    <a:pt x="75" y="309"/>
                  </a:cubicBezTo>
                  <a:cubicBezTo>
                    <a:pt x="76" y="314"/>
                    <a:pt x="72" y="318"/>
                    <a:pt x="68" y="319"/>
                  </a:cubicBezTo>
                  <a:close/>
                  <a:moveTo>
                    <a:pt x="81" y="164"/>
                  </a:moveTo>
                  <a:cubicBezTo>
                    <a:pt x="83" y="160"/>
                    <a:pt x="89" y="158"/>
                    <a:pt x="93" y="161"/>
                  </a:cubicBezTo>
                  <a:cubicBezTo>
                    <a:pt x="97" y="163"/>
                    <a:pt x="99" y="169"/>
                    <a:pt x="96" y="173"/>
                  </a:cubicBezTo>
                  <a:cubicBezTo>
                    <a:pt x="94" y="177"/>
                    <a:pt x="88" y="178"/>
                    <a:pt x="84" y="176"/>
                  </a:cubicBezTo>
                  <a:cubicBezTo>
                    <a:pt x="80" y="174"/>
                    <a:pt x="79" y="168"/>
                    <a:pt x="81" y="164"/>
                  </a:cubicBezTo>
                  <a:close/>
                  <a:moveTo>
                    <a:pt x="97" y="386"/>
                  </a:moveTo>
                  <a:cubicBezTo>
                    <a:pt x="93" y="389"/>
                    <a:pt x="87" y="387"/>
                    <a:pt x="85" y="383"/>
                  </a:cubicBezTo>
                  <a:cubicBezTo>
                    <a:pt x="82" y="379"/>
                    <a:pt x="84" y="373"/>
                    <a:pt x="88" y="371"/>
                  </a:cubicBezTo>
                  <a:cubicBezTo>
                    <a:pt x="92" y="368"/>
                    <a:pt x="98" y="370"/>
                    <a:pt x="100" y="374"/>
                  </a:cubicBezTo>
                  <a:cubicBezTo>
                    <a:pt x="102" y="378"/>
                    <a:pt x="101" y="384"/>
                    <a:pt x="97" y="386"/>
                  </a:cubicBezTo>
                  <a:close/>
                  <a:moveTo>
                    <a:pt x="147" y="439"/>
                  </a:moveTo>
                  <a:cubicBezTo>
                    <a:pt x="144" y="443"/>
                    <a:pt x="138" y="443"/>
                    <a:pt x="135" y="440"/>
                  </a:cubicBezTo>
                  <a:cubicBezTo>
                    <a:pt x="131" y="437"/>
                    <a:pt x="130" y="432"/>
                    <a:pt x="134" y="428"/>
                  </a:cubicBezTo>
                  <a:cubicBezTo>
                    <a:pt x="137" y="424"/>
                    <a:pt x="142" y="424"/>
                    <a:pt x="146" y="427"/>
                  </a:cubicBezTo>
                  <a:cubicBezTo>
                    <a:pt x="150" y="430"/>
                    <a:pt x="150" y="435"/>
                    <a:pt x="147" y="439"/>
                  </a:cubicBezTo>
                  <a:close/>
                  <a:moveTo>
                    <a:pt x="212" y="472"/>
                  </a:moveTo>
                  <a:cubicBezTo>
                    <a:pt x="211" y="476"/>
                    <a:pt x="206" y="479"/>
                    <a:pt x="201" y="477"/>
                  </a:cubicBezTo>
                  <a:cubicBezTo>
                    <a:pt x="197" y="475"/>
                    <a:pt x="194" y="470"/>
                    <a:pt x="196" y="466"/>
                  </a:cubicBezTo>
                  <a:cubicBezTo>
                    <a:pt x="198" y="461"/>
                    <a:pt x="203" y="459"/>
                    <a:pt x="207" y="461"/>
                  </a:cubicBezTo>
                  <a:cubicBezTo>
                    <a:pt x="212" y="462"/>
                    <a:pt x="214" y="467"/>
                    <a:pt x="212" y="472"/>
                  </a:cubicBezTo>
                  <a:close/>
                  <a:moveTo>
                    <a:pt x="276" y="489"/>
                  </a:moveTo>
                  <a:cubicBezTo>
                    <a:pt x="271" y="489"/>
                    <a:pt x="267" y="485"/>
                    <a:pt x="267" y="480"/>
                  </a:cubicBezTo>
                  <a:cubicBezTo>
                    <a:pt x="267" y="475"/>
                    <a:pt x="271" y="471"/>
                    <a:pt x="276" y="471"/>
                  </a:cubicBezTo>
                  <a:cubicBezTo>
                    <a:pt x="281" y="471"/>
                    <a:pt x="285" y="475"/>
                    <a:pt x="285" y="480"/>
                  </a:cubicBezTo>
                  <a:cubicBezTo>
                    <a:pt x="285" y="485"/>
                    <a:pt x="281" y="489"/>
                    <a:pt x="276" y="489"/>
                  </a:cubicBezTo>
                  <a:close/>
                  <a:moveTo>
                    <a:pt x="351" y="475"/>
                  </a:moveTo>
                  <a:cubicBezTo>
                    <a:pt x="346" y="476"/>
                    <a:pt x="341" y="474"/>
                    <a:pt x="340" y="469"/>
                  </a:cubicBezTo>
                  <a:cubicBezTo>
                    <a:pt x="338" y="465"/>
                    <a:pt x="340" y="460"/>
                    <a:pt x="345" y="458"/>
                  </a:cubicBezTo>
                  <a:cubicBezTo>
                    <a:pt x="349" y="456"/>
                    <a:pt x="354" y="459"/>
                    <a:pt x="356" y="463"/>
                  </a:cubicBezTo>
                  <a:cubicBezTo>
                    <a:pt x="358" y="468"/>
                    <a:pt x="355" y="473"/>
                    <a:pt x="351" y="475"/>
                  </a:cubicBezTo>
                  <a:close/>
                  <a:moveTo>
                    <a:pt x="416" y="435"/>
                  </a:moveTo>
                  <a:cubicBezTo>
                    <a:pt x="412" y="439"/>
                    <a:pt x="407" y="438"/>
                    <a:pt x="404" y="434"/>
                  </a:cubicBezTo>
                  <a:cubicBezTo>
                    <a:pt x="401" y="431"/>
                    <a:pt x="401" y="425"/>
                    <a:pt x="405" y="422"/>
                  </a:cubicBezTo>
                  <a:cubicBezTo>
                    <a:pt x="408" y="419"/>
                    <a:pt x="414" y="419"/>
                    <a:pt x="417" y="423"/>
                  </a:cubicBezTo>
                  <a:cubicBezTo>
                    <a:pt x="420" y="427"/>
                    <a:pt x="420" y="432"/>
                    <a:pt x="416" y="435"/>
                  </a:cubicBezTo>
                  <a:close/>
                  <a:moveTo>
                    <a:pt x="441" y="322"/>
                  </a:moveTo>
                  <a:cubicBezTo>
                    <a:pt x="413" y="317"/>
                    <a:pt x="413" y="317"/>
                    <a:pt x="413" y="317"/>
                  </a:cubicBezTo>
                  <a:cubicBezTo>
                    <a:pt x="412" y="320"/>
                    <a:pt x="411" y="322"/>
                    <a:pt x="410" y="325"/>
                  </a:cubicBezTo>
                  <a:cubicBezTo>
                    <a:pt x="435" y="339"/>
                    <a:pt x="435" y="339"/>
                    <a:pt x="435" y="339"/>
                  </a:cubicBezTo>
                  <a:cubicBezTo>
                    <a:pt x="413" y="376"/>
                    <a:pt x="413" y="376"/>
                    <a:pt x="413" y="376"/>
                  </a:cubicBezTo>
                  <a:cubicBezTo>
                    <a:pt x="389" y="362"/>
                    <a:pt x="389" y="362"/>
                    <a:pt x="389" y="362"/>
                  </a:cubicBezTo>
                  <a:cubicBezTo>
                    <a:pt x="387" y="364"/>
                    <a:pt x="385" y="367"/>
                    <a:pt x="383" y="369"/>
                  </a:cubicBezTo>
                  <a:cubicBezTo>
                    <a:pt x="401" y="391"/>
                    <a:pt x="401" y="391"/>
                    <a:pt x="401" y="391"/>
                  </a:cubicBezTo>
                  <a:cubicBezTo>
                    <a:pt x="369" y="418"/>
                    <a:pt x="369" y="418"/>
                    <a:pt x="369" y="418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48" y="398"/>
                    <a:pt x="345" y="399"/>
                    <a:pt x="343" y="401"/>
                  </a:cubicBezTo>
                  <a:cubicBezTo>
                    <a:pt x="352" y="427"/>
                    <a:pt x="352" y="427"/>
                    <a:pt x="352" y="427"/>
                  </a:cubicBezTo>
                  <a:cubicBezTo>
                    <a:pt x="312" y="442"/>
                    <a:pt x="312" y="442"/>
                    <a:pt x="312" y="442"/>
                  </a:cubicBezTo>
                  <a:cubicBezTo>
                    <a:pt x="303" y="416"/>
                    <a:pt x="303" y="416"/>
                    <a:pt x="303" y="416"/>
                  </a:cubicBezTo>
                  <a:cubicBezTo>
                    <a:pt x="300" y="416"/>
                    <a:pt x="297" y="417"/>
                    <a:pt x="294" y="417"/>
                  </a:cubicBezTo>
                  <a:cubicBezTo>
                    <a:pt x="294" y="445"/>
                    <a:pt x="294" y="445"/>
                    <a:pt x="294" y="445"/>
                  </a:cubicBezTo>
                  <a:cubicBezTo>
                    <a:pt x="251" y="445"/>
                    <a:pt x="251" y="445"/>
                    <a:pt x="251" y="445"/>
                  </a:cubicBezTo>
                  <a:cubicBezTo>
                    <a:pt x="251" y="417"/>
                    <a:pt x="251" y="417"/>
                    <a:pt x="251" y="417"/>
                  </a:cubicBezTo>
                  <a:cubicBezTo>
                    <a:pt x="248" y="417"/>
                    <a:pt x="245" y="416"/>
                    <a:pt x="242" y="416"/>
                  </a:cubicBezTo>
                  <a:cubicBezTo>
                    <a:pt x="233" y="442"/>
                    <a:pt x="233" y="442"/>
                    <a:pt x="233" y="442"/>
                  </a:cubicBezTo>
                  <a:cubicBezTo>
                    <a:pt x="192" y="427"/>
                    <a:pt x="192" y="427"/>
                    <a:pt x="192" y="427"/>
                  </a:cubicBezTo>
                  <a:cubicBezTo>
                    <a:pt x="202" y="401"/>
                    <a:pt x="202" y="401"/>
                    <a:pt x="202" y="401"/>
                  </a:cubicBezTo>
                  <a:cubicBezTo>
                    <a:pt x="199" y="399"/>
                    <a:pt x="197" y="398"/>
                    <a:pt x="194" y="396"/>
                  </a:cubicBezTo>
                  <a:cubicBezTo>
                    <a:pt x="176" y="418"/>
                    <a:pt x="176" y="418"/>
                    <a:pt x="176" y="418"/>
                  </a:cubicBezTo>
                  <a:cubicBezTo>
                    <a:pt x="143" y="391"/>
                    <a:pt x="143" y="391"/>
                    <a:pt x="143" y="391"/>
                  </a:cubicBezTo>
                  <a:cubicBezTo>
                    <a:pt x="162" y="369"/>
                    <a:pt x="162" y="369"/>
                    <a:pt x="162" y="369"/>
                  </a:cubicBezTo>
                  <a:cubicBezTo>
                    <a:pt x="160" y="367"/>
                    <a:pt x="158" y="364"/>
                    <a:pt x="156" y="362"/>
                  </a:cubicBezTo>
                  <a:cubicBezTo>
                    <a:pt x="131" y="376"/>
                    <a:pt x="131" y="376"/>
                    <a:pt x="131" y="376"/>
                  </a:cubicBezTo>
                  <a:cubicBezTo>
                    <a:pt x="110" y="339"/>
                    <a:pt x="110" y="339"/>
                    <a:pt x="110" y="339"/>
                  </a:cubicBezTo>
                  <a:cubicBezTo>
                    <a:pt x="135" y="325"/>
                    <a:pt x="135" y="325"/>
                    <a:pt x="135" y="325"/>
                  </a:cubicBezTo>
                  <a:cubicBezTo>
                    <a:pt x="133" y="322"/>
                    <a:pt x="132" y="320"/>
                    <a:pt x="132" y="317"/>
                  </a:cubicBezTo>
                  <a:cubicBezTo>
                    <a:pt x="104" y="322"/>
                    <a:pt x="104" y="322"/>
                    <a:pt x="104" y="322"/>
                  </a:cubicBezTo>
                  <a:cubicBezTo>
                    <a:pt x="96" y="280"/>
                    <a:pt x="96" y="280"/>
                    <a:pt x="96" y="280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273"/>
                    <a:pt x="124" y="272"/>
                    <a:pt x="124" y="270"/>
                  </a:cubicBezTo>
                  <a:cubicBezTo>
                    <a:pt x="124" y="269"/>
                    <a:pt x="124" y="267"/>
                    <a:pt x="124" y="266"/>
                  </a:cubicBezTo>
                  <a:cubicBezTo>
                    <a:pt x="96" y="261"/>
                    <a:pt x="96" y="261"/>
                    <a:pt x="96" y="261"/>
                  </a:cubicBezTo>
                  <a:cubicBezTo>
                    <a:pt x="104" y="219"/>
                    <a:pt x="104" y="219"/>
                    <a:pt x="104" y="219"/>
                  </a:cubicBezTo>
                  <a:cubicBezTo>
                    <a:pt x="132" y="224"/>
                    <a:pt x="132" y="224"/>
                    <a:pt x="132" y="224"/>
                  </a:cubicBezTo>
                  <a:cubicBezTo>
                    <a:pt x="132" y="221"/>
                    <a:pt x="133" y="218"/>
                    <a:pt x="135" y="215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31" y="164"/>
                    <a:pt x="131" y="164"/>
                    <a:pt x="131" y="164"/>
                  </a:cubicBezTo>
                  <a:cubicBezTo>
                    <a:pt x="156" y="178"/>
                    <a:pt x="156" y="178"/>
                    <a:pt x="156" y="178"/>
                  </a:cubicBezTo>
                  <a:cubicBezTo>
                    <a:pt x="158" y="176"/>
                    <a:pt x="160" y="174"/>
                    <a:pt x="162" y="171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94" y="144"/>
                    <a:pt x="194" y="144"/>
                    <a:pt x="194" y="144"/>
                  </a:cubicBezTo>
                  <a:cubicBezTo>
                    <a:pt x="197" y="142"/>
                    <a:pt x="199" y="141"/>
                    <a:pt x="202" y="139"/>
                  </a:cubicBezTo>
                  <a:cubicBezTo>
                    <a:pt x="192" y="113"/>
                    <a:pt x="192" y="113"/>
                    <a:pt x="192" y="113"/>
                  </a:cubicBezTo>
                  <a:cubicBezTo>
                    <a:pt x="233" y="98"/>
                    <a:pt x="233" y="98"/>
                    <a:pt x="233" y="98"/>
                  </a:cubicBezTo>
                  <a:cubicBezTo>
                    <a:pt x="242" y="125"/>
                    <a:pt x="242" y="125"/>
                    <a:pt x="242" y="125"/>
                  </a:cubicBezTo>
                  <a:cubicBezTo>
                    <a:pt x="245" y="124"/>
                    <a:pt x="248" y="124"/>
                    <a:pt x="251" y="123"/>
                  </a:cubicBezTo>
                  <a:cubicBezTo>
                    <a:pt x="251" y="95"/>
                    <a:pt x="251" y="95"/>
                    <a:pt x="251" y="95"/>
                  </a:cubicBezTo>
                  <a:cubicBezTo>
                    <a:pt x="294" y="95"/>
                    <a:pt x="294" y="95"/>
                    <a:pt x="294" y="95"/>
                  </a:cubicBezTo>
                  <a:cubicBezTo>
                    <a:pt x="294" y="123"/>
                    <a:pt x="294" y="123"/>
                    <a:pt x="294" y="123"/>
                  </a:cubicBezTo>
                  <a:cubicBezTo>
                    <a:pt x="297" y="124"/>
                    <a:pt x="300" y="124"/>
                    <a:pt x="303" y="125"/>
                  </a:cubicBezTo>
                  <a:cubicBezTo>
                    <a:pt x="312" y="98"/>
                    <a:pt x="312" y="98"/>
                    <a:pt x="312" y="98"/>
                  </a:cubicBezTo>
                  <a:cubicBezTo>
                    <a:pt x="352" y="113"/>
                    <a:pt x="352" y="113"/>
                    <a:pt x="352" y="113"/>
                  </a:cubicBezTo>
                  <a:cubicBezTo>
                    <a:pt x="343" y="139"/>
                    <a:pt x="343" y="139"/>
                    <a:pt x="343" y="139"/>
                  </a:cubicBezTo>
                  <a:cubicBezTo>
                    <a:pt x="345" y="141"/>
                    <a:pt x="348" y="142"/>
                    <a:pt x="350" y="144"/>
                  </a:cubicBezTo>
                  <a:cubicBezTo>
                    <a:pt x="369" y="122"/>
                    <a:pt x="369" y="122"/>
                    <a:pt x="369" y="122"/>
                  </a:cubicBezTo>
                  <a:cubicBezTo>
                    <a:pt x="401" y="150"/>
                    <a:pt x="401" y="150"/>
                    <a:pt x="401" y="150"/>
                  </a:cubicBezTo>
                  <a:cubicBezTo>
                    <a:pt x="383" y="171"/>
                    <a:pt x="383" y="171"/>
                    <a:pt x="383" y="171"/>
                  </a:cubicBezTo>
                  <a:cubicBezTo>
                    <a:pt x="385" y="174"/>
                    <a:pt x="387" y="176"/>
                    <a:pt x="389" y="178"/>
                  </a:cubicBezTo>
                  <a:cubicBezTo>
                    <a:pt x="413" y="164"/>
                    <a:pt x="413" y="164"/>
                    <a:pt x="413" y="164"/>
                  </a:cubicBezTo>
                  <a:cubicBezTo>
                    <a:pt x="435" y="201"/>
                    <a:pt x="435" y="201"/>
                    <a:pt x="435" y="201"/>
                  </a:cubicBezTo>
                  <a:cubicBezTo>
                    <a:pt x="410" y="215"/>
                    <a:pt x="410" y="215"/>
                    <a:pt x="410" y="215"/>
                  </a:cubicBezTo>
                  <a:cubicBezTo>
                    <a:pt x="411" y="218"/>
                    <a:pt x="412" y="221"/>
                    <a:pt x="413" y="224"/>
                  </a:cubicBezTo>
                  <a:cubicBezTo>
                    <a:pt x="441" y="219"/>
                    <a:pt x="441" y="219"/>
                    <a:pt x="441" y="219"/>
                  </a:cubicBezTo>
                  <a:cubicBezTo>
                    <a:pt x="449" y="261"/>
                    <a:pt x="449" y="261"/>
                    <a:pt x="449" y="261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1" y="267"/>
                    <a:pt x="421" y="269"/>
                    <a:pt x="421" y="270"/>
                  </a:cubicBezTo>
                  <a:cubicBezTo>
                    <a:pt x="421" y="272"/>
                    <a:pt x="421" y="273"/>
                    <a:pt x="421" y="275"/>
                  </a:cubicBezTo>
                  <a:cubicBezTo>
                    <a:pt x="449" y="280"/>
                    <a:pt x="449" y="280"/>
                    <a:pt x="449" y="280"/>
                  </a:cubicBezTo>
                  <a:lnTo>
                    <a:pt x="441" y="322"/>
                  </a:lnTo>
                  <a:close/>
                  <a:moveTo>
                    <a:pt x="464" y="376"/>
                  </a:moveTo>
                  <a:cubicBezTo>
                    <a:pt x="461" y="381"/>
                    <a:pt x="456" y="382"/>
                    <a:pt x="452" y="380"/>
                  </a:cubicBezTo>
                  <a:cubicBezTo>
                    <a:pt x="448" y="377"/>
                    <a:pt x="446" y="372"/>
                    <a:pt x="449" y="368"/>
                  </a:cubicBezTo>
                  <a:cubicBezTo>
                    <a:pt x="451" y="363"/>
                    <a:pt x="456" y="362"/>
                    <a:pt x="461" y="364"/>
                  </a:cubicBezTo>
                  <a:cubicBezTo>
                    <a:pt x="465" y="367"/>
                    <a:pt x="466" y="372"/>
                    <a:pt x="464" y="376"/>
                  </a:cubicBezTo>
                  <a:close/>
                  <a:moveTo>
                    <a:pt x="477" y="221"/>
                  </a:moveTo>
                  <a:cubicBezTo>
                    <a:pt x="482" y="220"/>
                    <a:pt x="486" y="224"/>
                    <a:pt x="487" y="228"/>
                  </a:cubicBezTo>
                  <a:cubicBezTo>
                    <a:pt x="488" y="233"/>
                    <a:pt x="485" y="238"/>
                    <a:pt x="480" y="239"/>
                  </a:cubicBezTo>
                  <a:cubicBezTo>
                    <a:pt x="475" y="239"/>
                    <a:pt x="471" y="236"/>
                    <a:pt x="470" y="231"/>
                  </a:cubicBezTo>
                  <a:cubicBezTo>
                    <a:pt x="469" y="227"/>
                    <a:pt x="472" y="222"/>
                    <a:pt x="477" y="221"/>
                  </a:cubicBezTo>
                  <a:close/>
                  <a:moveTo>
                    <a:pt x="489" y="304"/>
                  </a:moveTo>
                  <a:cubicBezTo>
                    <a:pt x="488" y="309"/>
                    <a:pt x="483" y="312"/>
                    <a:pt x="478" y="312"/>
                  </a:cubicBezTo>
                  <a:cubicBezTo>
                    <a:pt x="474" y="311"/>
                    <a:pt x="470" y="306"/>
                    <a:pt x="471" y="301"/>
                  </a:cubicBezTo>
                  <a:cubicBezTo>
                    <a:pt x="472" y="297"/>
                    <a:pt x="477" y="293"/>
                    <a:pt x="481" y="294"/>
                  </a:cubicBezTo>
                  <a:cubicBezTo>
                    <a:pt x="486" y="295"/>
                    <a:pt x="489" y="300"/>
                    <a:pt x="489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919E4686-1FFA-055E-746C-A610925D9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479" y="2719378"/>
              <a:ext cx="412211" cy="408770"/>
            </a:xfrm>
            <a:custGeom>
              <a:avLst/>
              <a:gdLst>
                <a:gd name="T0" fmla="*/ 225 w 253"/>
                <a:gd name="T1" fmla="*/ 86 h 251"/>
                <a:gd name="T2" fmla="*/ 227 w 253"/>
                <a:gd name="T3" fmla="*/ 49 h 251"/>
                <a:gd name="T4" fmla="*/ 206 w 253"/>
                <a:gd name="T5" fmla="*/ 54 h 251"/>
                <a:gd name="T6" fmla="*/ 195 w 253"/>
                <a:gd name="T7" fmla="*/ 19 h 251"/>
                <a:gd name="T8" fmla="*/ 177 w 253"/>
                <a:gd name="T9" fmla="*/ 32 h 251"/>
                <a:gd name="T10" fmla="*/ 155 w 253"/>
                <a:gd name="T11" fmla="*/ 2 h 251"/>
                <a:gd name="T12" fmla="*/ 142 w 253"/>
                <a:gd name="T13" fmla="*/ 20 h 251"/>
                <a:gd name="T14" fmla="*/ 111 w 253"/>
                <a:gd name="T15" fmla="*/ 0 h 251"/>
                <a:gd name="T16" fmla="*/ 105 w 253"/>
                <a:gd name="T17" fmla="*/ 21 h 251"/>
                <a:gd name="T18" fmla="*/ 69 w 253"/>
                <a:gd name="T19" fmla="*/ 12 h 251"/>
                <a:gd name="T20" fmla="*/ 71 w 253"/>
                <a:gd name="T21" fmla="*/ 35 h 251"/>
                <a:gd name="T22" fmla="*/ 34 w 253"/>
                <a:gd name="T23" fmla="*/ 39 h 251"/>
                <a:gd name="T24" fmla="*/ 43 w 253"/>
                <a:gd name="T25" fmla="*/ 59 h 251"/>
                <a:gd name="T26" fmla="*/ 10 w 253"/>
                <a:gd name="T27" fmla="*/ 76 h 251"/>
                <a:gd name="T28" fmla="*/ 25 w 253"/>
                <a:gd name="T29" fmla="*/ 92 h 251"/>
                <a:gd name="T30" fmla="*/ 0 w 253"/>
                <a:gd name="T31" fmla="*/ 118 h 251"/>
                <a:gd name="T32" fmla="*/ 20 w 253"/>
                <a:gd name="T33" fmla="*/ 125 h 251"/>
                <a:gd name="T34" fmla="*/ 0 w 253"/>
                <a:gd name="T35" fmla="*/ 132 h 251"/>
                <a:gd name="T36" fmla="*/ 25 w 253"/>
                <a:gd name="T37" fmla="*/ 159 h 251"/>
                <a:gd name="T38" fmla="*/ 10 w 253"/>
                <a:gd name="T39" fmla="*/ 175 h 251"/>
                <a:gd name="T40" fmla="*/ 43 w 253"/>
                <a:gd name="T41" fmla="*/ 191 h 251"/>
                <a:gd name="T42" fmla="*/ 34 w 253"/>
                <a:gd name="T43" fmla="*/ 212 h 251"/>
                <a:gd name="T44" fmla="*/ 71 w 253"/>
                <a:gd name="T45" fmla="*/ 216 h 251"/>
                <a:gd name="T46" fmla="*/ 69 w 253"/>
                <a:gd name="T47" fmla="*/ 238 h 251"/>
                <a:gd name="T48" fmla="*/ 105 w 253"/>
                <a:gd name="T49" fmla="*/ 229 h 251"/>
                <a:gd name="T50" fmla="*/ 111 w 253"/>
                <a:gd name="T51" fmla="*/ 251 h 251"/>
                <a:gd name="T52" fmla="*/ 142 w 253"/>
                <a:gd name="T53" fmla="*/ 230 h 251"/>
                <a:gd name="T54" fmla="*/ 155 w 253"/>
                <a:gd name="T55" fmla="*/ 248 h 251"/>
                <a:gd name="T56" fmla="*/ 177 w 253"/>
                <a:gd name="T57" fmla="*/ 219 h 251"/>
                <a:gd name="T58" fmla="*/ 195 w 253"/>
                <a:gd name="T59" fmla="*/ 231 h 251"/>
                <a:gd name="T60" fmla="*/ 206 w 253"/>
                <a:gd name="T61" fmla="*/ 196 h 251"/>
                <a:gd name="T62" fmla="*/ 227 w 253"/>
                <a:gd name="T63" fmla="*/ 201 h 251"/>
                <a:gd name="T64" fmla="*/ 225 w 253"/>
                <a:gd name="T65" fmla="*/ 165 h 251"/>
                <a:gd name="T66" fmla="*/ 247 w 253"/>
                <a:gd name="T67" fmla="*/ 162 h 251"/>
                <a:gd name="T68" fmla="*/ 233 w 253"/>
                <a:gd name="T69" fmla="*/ 128 h 251"/>
                <a:gd name="T70" fmla="*/ 233 w 253"/>
                <a:gd name="T71" fmla="*/ 122 h 251"/>
                <a:gd name="T72" fmla="*/ 247 w 253"/>
                <a:gd name="T73" fmla="*/ 88 h 251"/>
                <a:gd name="T74" fmla="*/ 213 w 253"/>
                <a:gd name="T75" fmla="*/ 125 h 251"/>
                <a:gd name="T76" fmla="*/ 40 w 253"/>
                <a:gd name="T77" fmla="*/ 125 h 251"/>
                <a:gd name="T78" fmla="*/ 213 w 253"/>
                <a:gd name="T79" fmla="*/ 12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3" h="251">
                  <a:moveTo>
                    <a:pt x="227" y="92"/>
                  </a:moveTo>
                  <a:cubicBezTo>
                    <a:pt x="227" y="90"/>
                    <a:pt x="226" y="88"/>
                    <a:pt x="225" y="86"/>
                  </a:cubicBezTo>
                  <a:cubicBezTo>
                    <a:pt x="243" y="76"/>
                    <a:pt x="243" y="76"/>
                    <a:pt x="243" y="76"/>
                  </a:cubicBezTo>
                  <a:cubicBezTo>
                    <a:pt x="227" y="49"/>
                    <a:pt x="227" y="49"/>
                    <a:pt x="227" y="49"/>
                  </a:cubicBezTo>
                  <a:cubicBezTo>
                    <a:pt x="210" y="59"/>
                    <a:pt x="210" y="59"/>
                    <a:pt x="210" y="59"/>
                  </a:cubicBezTo>
                  <a:cubicBezTo>
                    <a:pt x="209" y="58"/>
                    <a:pt x="207" y="56"/>
                    <a:pt x="206" y="54"/>
                  </a:cubicBezTo>
                  <a:cubicBezTo>
                    <a:pt x="219" y="39"/>
                    <a:pt x="219" y="39"/>
                    <a:pt x="219" y="3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82" y="35"/>
                    <a:pt x="182" y="35"/>
                    <a:pt x="182" y="35"/>
                  </a:cubicBezTo>
                  <a:cubicBezTo>
                    <a:pt x="181" y="34"/>
                    <a:pt x="179" y="33"/>
                    <a:pt x="177" y="3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55" y="2"/>
                    <a:pt x="155" y="2"/>
                    <a:pt x="155" y="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6" y="21"/>
                    <a:pt x="144" y="20"/>
                    <a:pt x="142" y="2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09" y="20"/>
                    <a:pt x="107" y="21"/>
                    <a:pt x="105" y="21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3"/>
                    <a:pt x="72" y="34"/>
                    <a:pt x="71" y="35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6" y="56"/>
                    <a:pt x="44" y="58"/>
                    <a:pt x="43" y="5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7" y="88"/>
                    <a:pt x="26" y="90"/>
                    <a:pt x="25" y="92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3"/>
                    <a:pt x="20" y="124"/>
                    <a:pt x="20" y="125"/>
                  </a:cubicBezTo>
                  <a:cubicBezTo>
                    <a:pt x="20" y="126"/>
                    <a:pt x="20" y="127"/>
                    <a:pt x="20" y="128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6" y="161"/>
                    <a:pt x="27" y="163"/>
                    <a:pt x="28" y="165"/>
                  </a:cubicBezTo>
                  <a:cubicBezTo>
                    <a:pt x="10" y="175"/>
                    <a:pt x="10" y="175"/>
                    <a:pt x="10" y="175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3" y="191"/>
                    <a:pt x="43" y="191"/>
                    <a:pt x="43" y="191"/>
                  </a:cubicBezTo>
                  <a:cubicBezTo>
                    <a:pt x="44" y="193"/>
                    <a:pt x="46" y="194"/>
                    <a:pt x="47" y="196"/>
                  </a:cubicBezTo>
                  <a:cubicBezTo>
                    <a:pt x="34" y="212"/>
                    <a:pt x="34" y="212"/>
                    <a:pt x="34" y="212"/>
                  </a:cubicBezTo>
                  <a:cubicBezTo>
                    <a:pt x="57" y="231"/>
                    <a:pt x="57" y="231"/>
                    <a:pt x="57" y="231"/>
                  </a:cubicBezTo>
                  <a:cubicBezTo>
                    <a:pt x="71" y="216"/>
                    <a:pt x="71" y="216"/>
                    <a:pt x="71" y="216"/>
                  </a:cubicBezTo>
                  <a:cubicBezTo>
                    <a:pt x="72" y="217"/>
                    <a:pt x="74" y="218"/>
                    <a:pt x="76" y="219"/>
                  </a:cubicBezTo>
                  <a:cubicBezTo>
                    <a:pt x="69" y="238"/>
                    <a:pt x="69" y="238"/>
                    <a:pt x="69" y="238"/>
                  </a:cubicBezTo>
                  <a:cubicBezTo>
                    <a:pt x="98" y="248"/>
                    <a:pt x="98" y="248"/>
                    <a:pt x="98" y="248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7" y="230"/>
                    <a:pt x="109" y="230"/>
                    <a:pt x="111" y="230"/>
                  </a:cubicBezTo>
                  <a:cubicBezTo>
                    <a:pt x="111" y="251"/>
                    <a:pt x="111" y="251"/>
                    <a:pt x="111" y="251"/>
                  </a:cubicBezTo>
                  <a:cubicBezTo>
                    <a:pt x="142" y="251"/>
                    <a:pt x="142" y="251"/>
                    <a:pt x="142" y="251"/>
                  </a:cubicBezTo>
                  <a:cubicBezTo>
                    <a:pt x="142" y="230"/>
                    <a:pt x="142" y="230"/>
                    <a:pt x="142" y="230"/>
                  </a:cubicBezTo>
                  <a:cubicBezTo>
                    <a:pt x="144" y="230"/>
                    <a:pt x="146" y="230"/>
                    <a:pt x="148" y="229"/>
                  </a:cubicBezTo>
                  <a:cubicBezTo>
                    <a:pt x="155" y="248"/>
                    <a:pt x="155" y="248"/>
                    <a:pt x="155" y="248"/>
                  </a:cubicBezTo>
                  <a:cubicBezTo>
                    <a:pt x="184" y="238"/>
                    <a:pt x="184" y="238"/>
                    <a:pt x="184" y="238"/>
                  </a:cubicBezTo>
                  <a:cubicBezTo>
                    <a:pt x="177" y="219"/>
                    <a:pt x="177" y="219"/>
                    <a:pt x="177" y="219"/>
                  </a:cubicBezTo>
                  <a:cubicBezTo>
                    <a:pt x="179" y="218"/>
                    <a:pt x="181" y="217"/>
                    <a:pt x="182" y="216"/>
                  </a:cubicBezTo>
                  <a:cubicBezTo>
                    <a:pt x="195" y="231"/>
                    <a:pt x="195" y="231"/>
                    <a:pt x="195" y="231"/>
                  </a:cubicBezTo>
                  <a:cubicBezTo>
                    <a:pt x="219" y="211"/>
                    <a:pt x="219" y="211"/>
                    <a:pt x="219" y="211"/>
                  </a:cubicBezTo>
                  <a:cubicBezTo>
                    <a:pt x="206" y="196"/>
                    <a:pt x="206" y="196"/>
                    <a:pt x="206" y="196"/>
                  </a:cubicBezTo>
                  <a:cubicBezTo>
                    <a:pt x="207" y="194"/>
                    <a:pt x="209" y="193"/>
                    <a:pt x="210" y="191"/>
                  </a:cubicBezTo>
                  <a:cubicBezTo>
                    <a:pt x="227" y="201"/>
                    <a:pt x="227" y="201"/>
                    <a:pt x="227" y="201"/>
                  </a:cubicBezTo>
                  <a:cubicBezTo>
                    <a:pt x="243" y="175"/>
                    <a:pt x="243" y="175"/>
                    <a:pt x="243" y="175"/>
                  </a:cubicBezTo>
                  <a:cubicBezTo>
                    <a:pt x="225" y="165"/>
                    <a:pt x="225" y="165"/>
                    <a:pt x="225" y="165"/>
                  </a:cubicBezTo>
                  <a:cubicBezTo>
                    <a:pt x="226" y="163"/>
                    <a:pt x="227" y="161"/>
                    <a:pt x="227" y="159"/>
                  </a:cubicBezTo>
                  <a:cubicBezTo>
                    <a:pt x="247" y="162"/>
                    <a:pt x="247" y="162"/>
                    <a:pt x="247" y="162"/>
                  </a:cubicBezTo>
                  <a:cubicBezTo>
                    <a:pt x="253" y="132"/>
                    <a:pt x="253" y="132"/>
                    <a:pt x="253" y="132"/>
                  </a:cubicBezTo>
                  <a:cubicBezTo>
                    <a:pt x="233" y="128"/>
                    <a:pt x="233" y="128"/>
                    <a:pt x="233" y="128"/>
                  </a:cubicBezTo>
                  <a:cubicBezTo>
                    <a:pt x="233" y="127"/>
                    <a:pt x="233" y="126"/>
                    <a:pt x="233" y="125"/>
                  </a:cubicBezTo>
                  <a:cubicBezTo>
                    <a:pt x="233" y="124"/>
                    <a:pt x="233" y="123"/>
                    <a:pt x="233" y="122"/>
                  </a:cubicBezTo>
                  <a:cubicBezTo>
                    <a:pt x="253" y="118"/>
                    <a:pt x="253" y="118"/>
                    <a:pt x="253" y="118"/>
                  </a:cubicBezTo>
                  <a:cubicBezTo>
                    <a:pt x="247" y="88"/>
                    <a:pt x="247" y="88"/>
                    <a:pt x="247" y="88"/>
                  </a:cubicBezTo>
                  <a:lnTo>
                    <a:pt x="227" y="92"/>
                  </a:lnTo>
                  <a:close/>
                  <a:moveTo>
                    <a:pt x="213" y="125"/>
                  </a:moveTo>
                  <a:cubicBezTo>
                    <a:pt x="213" y="173"/>
                    <a:pt x="174" y="212"/>
                    <a:pt x="126" y="212"/>
                  </a:cubicBezTo>
                  <a:cubicBezTo>
                    <a:pt x="79" y="212"/>
                    <a:pt x="40" y="173"/>
                    <a:pt x="40" y="125"/>
                  </a:cubicBezTo>
                  <a:cubicBezTo>
                    <a:pt x="40" y="77"/>
                    <a:pt x="79" y="39"/>
                    <a:pt x="126" y="39"/>
                  </a:cubicBezTo>
                  <a:cubicBezTo>
                    <a:pt x="174" y="39"/>
                    <a:pt x="213" y="77"/>
                    <a:pt x="213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</p:grpSp>
      <p:grpSp>
        <p:nvGrpSpPr>
          <p:cNvPr id="18" name="Group 1">
            <a:extLst>
              <a:ext uri="{FF2B5EF4-FFF2-40B4-BE49-F238E27FC236}">
                <a16:creationId xmlns:a16="http://schemas.microsoft.com/office/drawing/2014/main" id="{B8BE4123-D3B4-834C-A92D-97C201312480}"/>
              </a:ext>
            </a:extLst>
          </p:cNvPr>
          <p:cNvGrpSpPr/>
          <p:nvPr/>
        </p:nvGrpSpPr>
        <p:grpSpPr>
          <a:xfrm>
            <a:off x="4447633" y="4739937"/>
            <a:ext cx="887044" cy="880163"/>
            <a:chOff x="4447633" y="3993177"/>
            <a:chExt cx="887044" cy="880163"/>
          </a:xfrm>
          <a:solidFill>
            <a:srgbClr val="FFC620"/>
          </a:solidFill>
        </p:grpSpPr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B41FD114-2626-E026-117F-E2E9DEE0F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09" y="4276013"/>
              <a:ext cx="314491" cy="312427"/>
            </a:xfrm>
            <a:custGeom>
              <a:avLst/>
              <a:gdLst>
                <a:gd name="T0" fmla="*/ 173 w 193"/>
                <a:gd name="T1" fmla="*/ 71 h 192"/>
                <a:gd name="T2" fmla="*/ 185 w 193"/>
                <a:gd name="T3" fmla="*/ 58 h 192"/>
                <a:gd name="T4" fmla="*/ 160 w 193"/>
                <a:gd name="T5" fmla="*/ 46 h 192"/>
                <a:gd name="T6" fmla="*/ 167 w 193"/>
                <a:gd name="T7" fmla="*/ 30 h 192"/>
                <a:gd name="T8" fmla="*/ 139 w 193"/>
                <a:gd name="T9" fmla="*/ 27 h 192"/>
                <a:gd name="T10" fmla="*/ 140 w 193"/>
                <a:gd name="T11" fmla="*/ 10 h 192"/>
                <a:gd name="T12" fmla="*/ 113 w 193"/>
                <a:gd name="T13" fmla="*/ 17 h 192"/>
                <a:gd name="T14" fmla="*/ 108 w 193"/>
                <a:gd name="T15" fmla="*/ 0 h 192"/>
                <a:gd name="T16" fmla="*/ 85 w 193"/>
                <a:gd name="T17" fmla="*/ 16 h 192"/>
                <a:gd name="T18" fmla="*/ 75 w 193"/>
                <a:gd name="T19" fmla="*/ 2 h 192"/>
                <a:gd name="T20" fmla="*/ 58 w 193"/>
                <a:gd name="T21" fmla="*/ 25 h 192"/>
                <a:gd name="T22" fmla="*/ 44 w 193"/>
                <a:gd name="T23" fmla="*/ 15 h 192"/>
                <a:gd name="T24" fmla="*/ 36 w 193"/>
                <a:gd name="T25" fmla="*/ 42 h 192"/>
                <a:gd name="T26" fmla="*/ 19 w 193"/>
                <a:gd name="T27" fmla="*/ 38 h 192"/>
                <a:gd name="T28" fmla="*/ 21 w 193"/>
                <a:gd name="T29" fmla="*/ 66 h 192"/>
                <a:gd name="T30" fmla="*/ 4 w 193"/>
                <a:gd name="T31" fmla="*/ 68 h 192"/>
                <a:gd name="T32" fmla="*/ 15 w 193"/>
                <a:gd name="T33" fmla="*/ 94 h 192"/>
                <a:gd name="T34" fmla="*/ 15 w 193"/>
                <a:gd name="T35" fmla="*/ 99 h 192"/>
                <a:gd name="T36" fmla="*/ 4 w 193"/>
                <a:gd name="T37" fmla="*/ 124 h 192"/>
                <a:gd name="T38" fmla="*/ 21 w 193"/>
                <a:gd name="T39" fmla="*/ 126 h 192"/>
                <a:gd name="T40" fmla="*/ 19 w 193"/>
                <a:gd name="T41" fmla="*/ 154 h 192"/>
                <a:gd name="T42" fmla="*/ 36 w 193"/>
                <a:gd name="T43" fmla="*/ 150 h 192"/>
                <a:gd name="T44" fmla="*/ 44 w 193"/>
                <a:gd name="T45" fmla="*/ 177 h 192"/>
                <a:gd name="T46" fmla="*/ 58 w 193"/>
                <a:gd name="T47" fmla="*/ 168 h 192"/>
                <a:gd name="T48" fmla="*/ 75 w 193"/>
                <a:gd name="T49" fmla="*/ 190 h 192"/>
                <a:gd name="T50" fmla="*/ 85 w 193"/>
                <a:gd name="T51" fmla="*/ 176 h 192"/>
                <a:gd name="T52" fmla="*/ 108 w 193"/>
                <a:gd name="T53" fmla="*/ 192 h 192"/>
                <a:gd name="T54" fmla="*/ 113 w 193"/>
                <a:gd name="T55" fmla="*/ 176 h 192"/>
                <a:gd name="T56" fmla="*/ 140 w 193"/>
                <a:gd name="T57" fmla="*/ 182 h 192"/>
                <a:gd name="T58" fmla="*/ 139 w 193"/>
                <a:gd name="T59" fmla="*/ 165 h 192"/>
                <a:gd name="T60" fmla="*/ 167 w 193"/>
                <a:gd name="T61" fmla="*/ 162 h 192"/>
                <a:gd name="T62" fmla="*/ 160 w 193"/>
                <a:gd name="T63" fmla="*/ 146 h 192"/>
                <a:gd name="T64" fmla="*/ 185 w 193"/>
                <a:gd name="T65" fmla="*/ 134 h 192"/>
                <a:gd name="T66" fmla="*/ 173 w 193"/>
                <a:gd name="T67" fmla="*/ 122 h 192"/>
                <a:gd name="T68" fmla="*/ 193 w 193"/>
                <a:gd name="T69" fmla="*/ 101 h 192"/>
                <a:gd name="T70" fmla="*/ 178 w 193"/>
                <a:gd name="T71" fmla="*/ 96 h 192"/>
                <a:gd name="T72" fmla="*/ 193 w 193"/>
                <a:gd name="T73" fmla="*/ 9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192">
                  <a:moveTo>
                    <a:pt x="189" y="68"/>
                  </a:moveTo>
                  <a:cubicBezTo>
                    <a:pt x="173" y="71"/>
                    <a:pt x="173" y="71"/>
                    <a:pt x="173" y="71"/>
                  </a:cubicBezTo>
                  <a:cubicBezTo>
                    <a:pt x="173" y="69"/>
                    <a:pt x="172" y="68"/>
                    <a:pt x="172" y="66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73" y="38"/>
                    <a:pt x="173" y="38"/>
                    <a:pt x="173" y="38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59" y="45"/>
                    <a:pt x="158" y="43"/>
                    <a:pt x="157" y="42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6"/>
                    <a:pt x="136" y="25"/>
                    <a:pt x="135" y="25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1" y="16"/>
                    <a:pt x="110" y="16"/>
                    <a:pt x="108" y="16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3" y="16"/>
                    <a:pt x="81" y="16"/>
                    <a:pt x="80" y="17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6" y="25"/>
                    <a:pt x="55" y="26"/>
                    <a:pt x="54" y="27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5" y="43"/>
                    <a:pt x="34" y="45"/>
                    <a:pt x="33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0" y="68"/>
                    <a:pt x="20" y="69"/>
                    <a:pt x="19" y="71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6"/>
                  </a:cubicBezTo>
                  <a:cubicBezTo>
                    <a:pt x="15" y="97"/>
                    <a:pt x="15" y="98"/>
                    <a:pt x="15" y="9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19" y="122"/>
                    <a:pt x="19" y="122"/>
                    <a:pt x="19" y="122"/>
                  </a:cubicBezTo>
                  <a:cubicBezTo>
                    <a:pt x="20" y="123"/>
                    <a:pt x="20" y="125"/>
                    <a:pt x="21" y="126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33" y="146"/>
                    <a:pt x="33" y="146"/>
                    <a:pt x="33" y="146"/>
                  </a:cubicBezTo>
                  <a:cubicBezTo>
                    <a:pt x="34" y="148"/>
                    <a:pt x="35" y="149"/>
                    <a:pt x="36" y="150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44" y="177"/>
                    <a:pt x="44" y="177"/>
                    <a:pt x="44" y="177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5" y="166"/>
                    <a:pt x="56" y="167"/>
                    <a:pt x="58" y="168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75" y="190"/>
                    <a:pt x="75" y="190"/>
                    <a:pt x="75" y="190"/>
                  </a:cubicBezTo>
                  <a:cubicBezTo>
                    <a:pt x="80" y="176"/>
                    <a:pt x="80" y="176"/>
                    <a:pt x="80" y="176"/>
                  </a:cubicBezTo>
                  <a:cubicBezTo>
                    <a:pt x="81" y="176"/>
                    <a:pt x="83" y="176"/>
                    <a:pt x="85" y="176"/>
                  </a:cubicBezTo>
                  <a:cubicBezTo>
                    <a:pt x="85" y="192"/>
                    <a:pt x="85" y="192"/>
                    <a:pt x="85" y="192"/>
                  </a:cubicBezTo>
                  <a:cubicBezTo>
                    <a:pt x="108" y="192"/>
                    <a:pt x="108" y="192"/>
                    <a:pt x="108" y="192"/>
                  </a:cubicBezTo>
                  <a:cubicBezTo>
                    <a:pt x="108" y="176"/>
                    <a:pt x="108" y="176"/>
                    <a:pt x="108" y="176"/>
                  </a:cubicBezTo>
                  <a:cubicBezTo>
                    <a:pt x="110" y="176"/>
                    <a:pt x="111" y="176"/>
                    <a:pt x="113" y="176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40" y="182"/>
                    <a:pt x="140" y="182"/>
                    <a:pt x="140" y="182"/>
                  </a:cubicBezTo>
                  <a:cubicBezTo>
                    <a:pt x="135" y="168"/>
                    <a:pt x="135" y="168"/>
                    <a:pt x="135" y="168"/>
                  </a:cubicBezTo>
                  <a:cubicBezTo>
                    <a:pt x="136" y="167"/>
                    <a:pt x="138" y="166"/>
                    <a:pt x="139" y="165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57" y="150"/>
                    <a:pt x="157" y="150"/>
                    <a:pt x="157" y="150"/>
                  </a:cubicBezTo>
                  <a:cubicBezTo>
                    <a:pt x="158" y="149"/>
                    <a:pt x="159" y="148"/>
                    <a:pt x="160" y="146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85" y="134"/>
                    <a:pt x="185" y="134"/>
                    <a:pt x="185" y="134"/>
                  </a:cubicBezTo>
                  <a:cubicBezTo>
                    <a:pt x="172" y="126"/>
                    <a:pt x="172" y="126"/>
                    <a:pt x="172" y="126"/>
                  </a:cubicBezTo>
                  <a:cubicBezTo>
                    <a:pt x="172" y="125"/>
                    <a:pt x="173" y="123"/>
                    <a:pt x="173" y="122"/>
                  </a:cubicBezTo>
                  <a:cubicBezTo>
                    <a:pt x="189" y="124"/>
                    <a:pt x="189" y="124"/>
                    <a:pt x="189" y="124"/>
                  </a:cubicBezTo>
                  <a:cubicBezTo>
                    <a:pt x="193" y="101"/>
                    <a:pt x="193" y="101"/>
                    <a:pt x="193" y="101"/>
                  </a:cubicBezTo>
                  <a:cubicBezTo>
                    <a:pt x="177" y="99"/>
                    <a:pt x="177" y="99"/>
                    <a:pt x="177" y="99"/>
                  </a:cubicBezTo>
                  <a:cubicBezTo>
                    <a:pt x="178" y="98"/>
                    <a:pt x="178" y="97"/>
                    <a:pt x="178" y="96"/>
                  </a:cubicBezTo>
                  <a:cubicBezTo>
                    <a:pt x="178" y="95"/>
                    <a:pt x="178" y="95"/>
                    <a:pt x="177" y="94"/>
                  </a:cubicBezTo>
                  <a:cubicBezTo>
                    <a:pt x="193" y="91"/>
                    <a:pt x="193" y="91"/>
                    <a:pt x="193" y="91"/>
                  </a:cubicBezTo>
                  <a:lnTo>
                    <a:pt x="189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AEE7CC72-23F4-73F3-8FA6-08B65C7B42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7633" y="3993177"/>
              <a:ext cx="887044" cy="880163"/>
            </a:xfrm>
            <a:custGeom>
              <a:avLst/>
              <a:gdLst>
                <a:gd name="T0" fmla="*/ 545 w 545"/>
                <a:gd name="T1" fmla="*/ 256 h 541"/>
                <a:gd name="T2" fmla="*/ 485 w 545"/>
                <a:gd name="T3" fmla="*/ 185 h 541"/>
                <a:gd name="T4" fmla="*/ 452 w 545"/>
                <a:gd name="T5" fmla="*/ 128 h 541"/>
                <a:gd name="T6" fmla="*/ 421 w 545"/>
                <a:gd name="T7" fmla="*/ 42 h 541"/>
                <a:gd name="T8" fmla="*/ 396 w 545"/>
                <a:gd name="T9" fmla="*/ 27 h 541"/>
                <a:gd name="T10" fmla="*/ 305 w 545"/>
                <a:gd name="T11" fmla="*/ 43 h 541"/>
                <a:gd name="T12" fmla="*/ 239 w 545"/>
                <a:gd name="T13" fmla="*/ 43 h 541"/>
                <a:gd name="T14" fmla="*/ 149 w 545"/>
                <a:gd name="T15" fmla="*/ 27 h 541"/>
                <a:gd name="T16" fmla="*/ 124 w 545"/>
                <a:gd name="T17" fmla="*/ 42 h 541"/>
                <a:gd name="T18" fmla="*/ 93 w 545"/>
                <a:gd name="T19" fmla="*/ 128 h 541"/>
                <a:gd name="T20" fmla="*/ 59 w 545"/>
                <a:gd name="T21" fmla="*/ 185 h 541"/>
                <a:gd name="T22" fmla="*/ 0 w 545"/>
                <a:gd name="T23" fmla="*/ 256 h 541"/>
                <a:gd name="T24" fmla="*/ 43 w 545"/>
                <a:gd name="T25" fmla="*/ 277 h 541"/>
                <a:gd name="T26" fmla="*/ 55 w 545"/>
                <a:gd name="T27" fmla="*/ 342 h 541"/>
                <a:gd name="T28" fmla="*/ 55 w 545"/>
                <a:gd name="T29" fmla="*/ 434 h 541"/>
                <a:gd name="T30" fmla="*/ 73 w 545"/>
                <a:gd name="T31" fmla="*/ 456 h 541"/>
                <a:gd name="T32" fmla="*/ 164 w 545"/>
                <a:gd name="T33" fmla="*/ 472 h 541"/>
                <a:gd name="T34" fmla="*/ 226 w 545"/>
                <a:gd name="T35" fmla="*/ 495 h 541"/>
                <a:gd name="T36" fmla="*/ 305 w 545"/>
                <a:gd name="T37" fmla="*/ 541 h 541"/>
                <a:gd name="T38" fmla="*/ 334 w 545"/>
                <a:gd name="T39" fmla="*/ 536 h 541"/>
                <a:gd name="T40" fmla="*/ 393 w 545"/>
                <a:gd name="T41" fmla="*/ 465 h 541"/>
                <a:gd name="T42" fmla="*/ 443 w 545"/>
                <a:gd name="T43" fmla="*/ 423 h 541"/>
                <a:gd name="T44" fmla="*/ 523 w 545"/>
                <a:gd name="T45" fmla="*/ 377 h 541"/>
                <a:gd name="T46" fmla="*/ 533 w 545"/>
                <a:gd name="T47" fmla="*/ 350 h 541"/>
                <a:gd name="T48" fmla="*/ 502 w 545"/>
                <a:gd name="T49" fmla="*/ 270 h 541"/>
                <a:gd name="T50" fmla="*/ 408 w 545"/>
                <a:gd name="T51" fmla="*/ 277 h 541"/>
                <a:gd name="T52" fmla="*/ 378 w 545"/>
                <a:gd name="T53" fmla="*/ 312 h 541"/>
                <a:gd name="T54" fmla="*/ 362 w 545"/>
                <a:gd name="T55" fmla="*/ 341 h 541"/>
                <a:gd name="T56" fmla="*/ 346 w 545"/>
                <a:gd name="T57" fmla="*/ 384 h 541"/>
                <a:gd name="T58" fmla="*/ 334 w 545"/>
                <a:gd name="T59" fmla="*/ 391 h 541"/>
                <a:gd name="T60" fmla="*/ 289 w 545"/>
                <a:gd name="T61" fmla="*/ 383 h 541"/>
                <a:gd name="T62" fmla="*/ 256 w 545"/>
                <a:gd name="T63" fmla="*/ 383 h 541"/>
                <a:gd name="T64" fmla="*/ 211 w 545"/>
                <a:gd name="T65" fmla="*/ 391 h 541"/>
                <a:gd name="T66" fmla="*/ 198 w 545"/>
                <a:gd name="T67" fmla="*/ 384 h 541"/>
                <a:gd name="T68" fmla="*/ 183 w 545"/>
                <a:gd name="T69" fmla="*/ 341 h 541"/>
                <a:gd name="T70" fmla="*/ 166 w 545"/>
                <a:gd name="T71" fmla="*/ 312 h 541"/>
                <a:gd name="T72" fmla="*/ 137 w 545"/>
                <a:gd name="T73" fmla="*/ 277 h 541"/>
                <a:gd name="T74" fmla="*/ 158 w 545"/>
                <a:gd name="T75" fmla="*/ 267 h 541"/>
                <a:gd name="T76" fmla="*/ 164 w 545"/>
                <a:gd name="T77" fmla="*/ 234 h 541"/>
                <a:gd name="T78" fmla="*/ 164 w 545"/>
                <a:gd name="T79" fmla="*/ 189 h 541"/>
                <a:gd name="T80" fmla="*/ 173 w 545"/>
                <a:gd name="T81" fmla="*/ 178 h 541"/>
                <a:gd name="T82" fmla="*/ 218 w 545"/>
                <a:gd name="T83" fmla="*/ 170 h 541"/>
                <a:gd name="T84" fmla="*/ 249 w 545"/>
                <a:gd name="T85" fmla="*/ 159 h 541"/>
                <a:gd name="T86" fmla="*/ 289 w 545"/>
                <a:gd name="T87" fmla="*/ 136 h 541"/>
                <a:gd name="T88" fmla="*/ 303 w 545"/>
                <a:gd name="T89" fmla="*/ 138 h 541"/>
                <a:gd name="T90" fmla="*/ 332 w 545"/>
                <a:gd name="T91" fmla="*/ 173 h 541"/>
                <a:gd name="T92" fmla="*/ 357 w 545"/>
                <a:gd name="T93" fmla="*/ 194 h 541"/>
                <a:gd name="T94" fmla="*/ 397 w 545"/>
                <a:gd name="T95" fmla="*/ 217 h 541"/>
                <a:gd name="T96" fmla="*/ 402 w 545"/>
                <a:gd name="T97" fmla="*/ 231 h 541"/>
                <a:gd name="T98" fmla="*/ 386 w 545"/>
                <a:gd name="T99" fmla="*/ 27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1">
                  <a:moveTo>
                    <a:pt x="502" y="270"/>
                  </a:moveTo>
                  <a:cubicBezTo>
                    <a:pt x="502" y="268"/>
                    <a:pt x="502" y="266"/>
                    <a:pt x="501" y="263"/>
                  </a:cubicBezTo>
                  <a:cubicBezTo>
                    <a:pt x="545" y="256"/>
                    <a:pt x="545" y="256"/>
                    <a:pt x="545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9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6" y="121"/>
                    <a:pt x="443" y="118"/>
                  </a:cubicBezTo>
                  <a:cubicBezTo>
                    <a:pt x="472" y="84"/>
                    <a:pt x="472" y="84"/>
                    <a:pt x="472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0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4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5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0" y="70"/>
                    <a:pt x="156" y="73"/>
                    <a:pt x="152" y="75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3" y="12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8" y="190"/>
                    <a:pt x="56" y="194"/>
                    <a:pt x="55" y="198"/>
                  </a:cubicBezTo>
                  <a:cubicBezTo>
                    <a:pt x="12" y="191"/>
                    <a:pt x="12" y="191"/>
                    <a:pt x="12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2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2" y="350"/>
                    <a:pt x="12" y="350"/>
                    <a:pt x="12" y="350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6" y="346"/>
                    <a:pt x="58" y="351"/>
                    <a:pt x="59" y="355"/>
                  </a:cubicBezTo>
                  <a:cubicBezTo>
                    <a:pt x="22" y="377"/>
                    <a:pt x="22" y="377"/>
                    <a:pt x="22" y="377"/>
                  </a:cubicBezTo>
                  <a:cubicBezTo>
                    <a:pt x="55" y="434"/>
                    <a:pt x="55" y="434"/>
                    <a:pt x="55" y="434"/>
                  </a:cubicBezTo>
                  <a:cubicBezTo>
                    <a:pt x="93" y="412"/>
                    <a:pt x="93" y="412"/>
                    <a:pt x="93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4" y="499"/>
                    <a:pt x="124" y="499"/>
                    <a:pt x="124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6" y="468"/>
                    <a:pt x="160" y="470"/>
                    <a:pt x="164" y="472"/>
                  </a:cubicBezTo>
                  <a:cubicBezTo>
                    <a:pt x="149" y="513"/>
                    <a:pt x="149" y="513"/>
                    <a:pt x="149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5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4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2" y="456"/>
                    <a:pt x="472" y="456"/>
                    <a:pt x="472" y="456"/>
                  </a:cubicBezTo>
                  <a:cubicBezTo>
                    <a:pt x="443" y="423"/>
                    <a:pt x="443" y="423"/>
                    <a:pt x="443" y="423"/>
                  </a:cubicBezTo>
                  <a:cubicBezTo>
                    <a:pt x="446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9" y="346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5" y="285"/>
                    <a:pt x="545" y="285"/>
                    <a:pt x="545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2" y="275"/>
                    <a:pt x="502" y="272"/>
                    <a:pt x="502" y="270"/>
                  </a:cubicBezTo>
                  <a:close/>
                  <a:moveTo>
                    <a:pt x="386" y="270"/>
                  </a:moveTo>
                  <a:cubicBezTo>
                    <a:pt x="386" y="271"/>
                    <a:pt x="386" y="272"/>
                    <a:pt x="386" y="274"/>
                  </a:cubicBezTo>
                  <a:cubicBezTo>
                    <a:pt x="408" y="277"/>
                    <a:pt x="408" y="277"/>
                    <a:pt x="408" y="277"/>
                  </a:cubicBezTo>
                  <a:cubicBezTo>
                    <a:pt x="402" y="310"/>
                    <a:pt x="402" y="310"/>
                    <a:pt x="402" y="310"/>
                  </a:cubicBezTo>
                  <a:cubicBezTo>
                    <a:pt x="381" y="306"/>
                    <a:pt x="381" y="306"/>
                    <a:pt x="381" y="306"/>
                  </a:cubicBezTo>
                  <a:cubicBezTo>
                    <a:pt x="380" y="308"/>
                    <a:pt x="379" y="310"/>
                    <a:pt x="378" y="312"/>
                  </a:cubicBezTo>
                  <a:cubicBezTo>
                    <a:pt x="397" y="323"/>
                    <a:pt x="397" y="323"/>
                    <a:pt x="397" y="323"/>
                  </a:cubicBezTo>
                  <a:cubicBezTo>
                    <a:pt x="381" y="352"/>
                    <a:pt x="381" y="352"/>
                    <a:pt x="381" y="352"/>
                  </a:cubicBezTo>
                  <a:cubicBezTo>
                    <a:pt x="362" y="341"/>
                    <a:pt x="362" y="341"/>
                    <a:pt x="362" y="341"/>
                  </a:cubicBezTo>
                  <a:cubicBezTo>
                    <a:pt x="360" y="343"/>
                    <a:pt x="359" y="344"/>
                    <a:pt x="357" y="346"/>
                  </a:cubicBezTo>
                  <a:cubicBezTo>
                    <a:pt x="371" y="363"/>
                    <a:pt x="371" y="363"/>
                    <a:pt x="371" y="363"/>
                  </a:cubicBezTo>
                  <a:cubicBezTo>
                    <a:pt x="346" y="384"/>
                    <a:pt x="346" y="384"/>
                    <a:pt x="346" y="384"/>
                  </a:cubicBezTo>
                  <a:cubicBezTo>
                    <a:pt x="332" y="367"/>
                    <a:pt x="332" y="367"/>
                    <a:pt x="332" y="367"/>
                  </a:cubicBezTo>
                  <a:cubicBezTo>
                    <a:pt x="330" y="368"/>
                    <a:pt x="328" y="370"/>
                    <a:pt x="326" y="371"/>
                  </a:cubicBezTo>
                  <a:cubicBezTo>
                    <a:pt x="334" y="391"/>
                    <a:pt x="334" y="391"/>
                    <a:pt x="334" y="391"/>
                  </a:cubicBezTo>
                  <a:cubicBezTo>
                    <a:pt x="303" y="402"/>
                    <a:pt x="303" y="402"/>
                    <a:pt x="303" y="402"/>
                  </a:cubicBezTo>
                  <a:cubicBezTo>
                    <a:pt x="296" y="382"/>
                    <a:pt x="296" y="382"/>
                    <a:pt x="296" y="382"/>
                  </a:cubicBezTo>
                  <a:cubicBezTo>
                    <a:pt x="293" y="382"/>
                    <a:pt x="291" y="383"/>
                    <a:pt x="289" y="383"/>
                  </a:cubicBezTo>
                  <a:cubicBezTo>
                    <a:pt x="289" y="405"/>
                    <a:pt x="289" y="405"/>
                    <a:pt x="289" y="405"/>
                  </a:cubicBezTo>
                  <a:cubicBezTo>
                    <a:pt x="256" y="405"/>
                    <a:pt x="256" y="405"/>
                    <a:pt x="256" y="405"/>
                  </a:cubicBezTo>
                  <a:cubicBezTo>
                    <a:pt x="256" y="383"/>
                    <a:pt x="256" y="383"/>
                    <a:pt x="256" y="383"/>
                  </a:cubicBezTo>
                  <a:cubicBezTo>
                    <a:pt x="254" y="383"/>
                    <a:pt x="251" y="382"/>
                    <a:pt x="249" y="382"/>
                  </a:cubicBezTo>
                  <a:cubicBezTo>
                    <a:pt x="242" y="402"/>
                    <a:pt x="242" y="402"/>
                    <a:pt x="242" y="402"/>
                  </a:cubicBezTo>
                  <a:cubicBezTo>
                    <a:pt x="211" y="391"/>
                    <a:pt x="211" y="391"/>
                    <a:pt x="211" y="391"/>
                  </a:cubicBezTo>
                  <a:cubicBezTo>
                    <a:pt x="218" y="371"/>
                    <a:pt x="218" y="371"/>
                    <a:pt x="218" y="371"/>
                  </a:cubicBezTo>
                  <a:cubicBezTo>
                    <a:pt x="216" y="370"/>
                    <a:pt x="214" y="368"/>
                    <a:pt x="212" y="367"/>
                  </a:cubicBezTo>
                  <a:cubicBezTo>
                    <a:pt x="198" y="384"/>
                    <a:pt x="198" y="384"/>
                    <a:pt x="198" y="384"/>
                  </a:cubicBezTo>
                  <a:cubicBezTo>
                    <a:pt x="173" y="363"/>
                    <a:pt x="173" y="363"/>
                    <a:pt x="173" y="363"/>
                  </a:cubicBezTo>
                  <a:cubicBezTo>
                    <a:pt x="187" y="346"/>
                    <a:pt x="187" y="346"/>
                    <a:pt x="187" y="346"/>
                  </a:cubicBezTo>
                  <a:cubicBezTo>
                    <a:pt x="186" y="344"/>
                    <a:pt x="184" y="343"/>
                    <a:pt x="183" y="341"/>
                  </a:cubicBezTo>
                  <a:cubicBezTo>
                    <a:pt x="164" y="352"/>
                    <a:pt x="164" y="352"/>
                    <a:pt x="164" y="352"/>
                  </a:cubicBezTo>
                  <a:cubicBezTo>
                    <a:pt x="148" y="323"/>
                    <a:pt x="148" y="323"/>
                    <a:pt x="148" y="323"/>
                  </a:cubicBezTo>
                  <a:cubicBezTo>
                    <a:pt x="166" y="312"/>
                    <a:pt x="166" y="312"/>
                    <a:pt x="166" y="312"/>
                  </a:cubicBezTo>
                  <a:cubicBezTo>
                    <a:pt x="166" y="310"/>
                    <a:pt x="165" y="308"/>
                    <a:pt x="164" y="306"/>
                  </a:cubicBezTo>
                  <a:cubicBezTo>
                    <a:pt x="143" y="310"/>
                    <a:pt x="143" y="310"/>
                    <a:pt x="143" y="310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58" y="274"/>
                    <a:pt x="158" y="274"/>
                    <a:pt x="158" y="274"/>
                  </a:cubicBezTo>
                  <a:cubicBezTo>
                    <a:pt x="158" y="272"/>
                    <a:pt x="158" y="271"/>
                    <a:pt x="158" y="270"/>
                  </a:cubicBezTo>
                  <a:cubicBezTo>
                    <a:pt x="158" y="269"/>
                    <a:pt x="158" y="268"/>
                    <a:pt x="158" y="267"/>
                  </a:cubicBezTo>
                  <a:cubicBezTo>
                    <a:pt x="137" y="263"/>
                    <a:pt x="137" y="263"/>
                    <a:pt x="137" y="263"/>
                  </a:cubicBezTo>
                  <a:cubicBezTo>
                    <a:pt x="143" y="231"/>
                    <a:pt x="143" y="231"/>
                    <a:pt x="143" y="231"/>
                  </a:cubicBezTo>
                  <a:cubicBezTo>
                    <a:pt x="164" y="234"/>
                    <a:pt x="164" y="234"/>
                    <a:pt x="164" y="234"/>
                  </a:cubicBezTo>
                  <a:cubicBezTo>
                    <a:pt x="165" y="232"/>
                    <a:pt x="166" y="230"/>
                    <a:pt x="166" y="228"/>
                  </a:cubicBezTo>
                  <a:cubicBezTo>
                    <a:pt x="148" y="217"/>
                    <a:pt x="148" y="217"/>
                    <a:pt x="148" y="217"/>
                  </a:cubicBezTo>
                  <a:cubicBezTo>
                    <a:pt x="164" y="189"/>
                    <a:pt x="164" y="189"/>
                    <a:pt x="164" y="189"/>
                  </a:cubicBezTo>
                  <a:cubicBezTo>
                    <a:pt x="183" y="200"/>
                    <a:pt x="183" y="200"/>
                    <a:pt x="183" y="200"/>
                  </a:cubicBezTo>
                  <a:cubicBezTo>
                    <a:pt x="184" y="198"/>
                    <a:pt x="186" y="196"/>
                    <a:pt x="187" y="194"/>
                  </a:cubicBezTo>
                  <a:cubicBezTo>
                    <a:pt x="173" y="178"/>
                    <a:pt x="173" y="178"/>
                    <a:pt x="173" y="178"/>
                  </a:cubicBezTo>
                  <a:cubicBezTo>
                    <a:pt x="198" y="157"/>
                    <a:pt x="198" y="157"/>
                    <a:pt x="198" y="157"/>
                  </a:cubicBezTo>
                  <a:cubicBezTo>
                    <a:pt x="212" y="173"/>
                    <a:pt x="212" y="173"/>
                    <a:pt x="212" y="173"/>
                  </a:cubicBezTo>
                  <a:cubicBezTo>
                    <a:pt x="214" y="172"/>
                    <a:pt x="216" y="171"/>
                    <a:pt x="218" y="170"/>
                  </a:cubicBezTo>
                  <a:cubicBezTo>
                    <a:pt x="211" y="149"/>
                    <a:pt x="211" y="149"/>
                    <a:pt x="211" y="149"/>
                  </a:cubicBezTo>
                  <a:cubicBezTo>
                    <a:pt x="242" y="138"/>
                    <a:pt x="242" y="138"/>
                    <a:pt x="242" y="138"/>
                  </a:cubicBezTo>
                  <a:cubicBezTo>
                    <a:pt x="249" y="159"/>
                    <a:pt x="249" y="159"/>
                    <a:pt x="249" y="159"/>
                  </a:cubicBezTo>
                  <a:cubicBezTo>
                    <a:pt x="251" y="158"/>
                    <a:pt x="254" y="158"/>
                    <a:pt x="256" y="157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89" y="136"/>
                    <a:pt x="289" y="136"/>
                    <a:pt x="289" y="136"/>
                  </a:cubicBezTo>
                  <a:cubicBezTo>
                    <a:pt x="289" y="157"/>
                    <a:pt x="289" y="157"/>
                    <a:pt x="289" y="157"/>
                  </a:cubicBezTo>
                  <a:cubicBezTo>
                    <a:pt x="291" y="158"/>
                    <a:pt x="293" y="158"/>
                    <a:pt x="296" y="159"/>
                  </a:cubicBezTo>
                  <a:cubicBezTo>
                    <a:pt x="303" y="138"/>
                    <a:pt x="303" y="138"/>
                    <a:pt x="303" y="138"/>
                  </a:cubicBezTo>
                  <a:cubicBezTo>
                    <a:pt x="334" y="149"/>
                    <a:pt x="334" y="149"/>
                    <a:pt x="334" y="149"/>
                  </a:cubicBezTo>
                  <a:cubicBezTo>
                    <a:pt x="326" y="170"/>
                    <a:pt x="326" y="170"/>
                    <a:pt x="326" y="170"/>
                  </a:cubicBezTo>
                  <a:cubicBezTo>
                    <a:pt x="328" y="171"/>
                    <a:pt x="330" y="172"/>
                    <a:pt x="332" y="173"/>
                  </a:cubicBezTo>
                  <a:cubicBezTo>
                    <a:pt x="346" y="157"/>
                    <a:pt x="346" y="157"/>
                    <a:pt x="346" y="157"/>
                  </a:cubicBezTo>
                  <a:cubicBezTo>
                    <a:pt x="371" y="178"/>
                    <a:pt x="371" y="178"/>
                    <a:pt x="371" y="178"/>
                  </a:cubicBezTo>
                  <a:cubicBezTo>
                    <a:pt x="357" y="194"/>
                    <a:pt x="357" y="194"/>
                    <a:pt x="357" y="194"/>
                  </a:cubicBezTo>
                  <a:cubicBezTo>
                    <a:pt x="359" y="196"/>
                    <a:pt x="360" y="198"/>
                    <a:pt x="362" y="200"/>
                  </a:cubicBezTo>
                  <a:cubicBezTo>
                    <a:pt x="381" y="189"/>
                    <a:pt x="381" y="189"/>
                    <a:pt x="381" y="189"/>
                  </a:cubicBezTo>
                  <a:cubicBezTo>
                    <a:pt x="397" y="217"/>
                    <a:pt x="397" y="217"/>
                    <a:pt x="397" y="217"/>
                  </a:cubicBezTo>
                  <a:cubicBezTo>
                    <a:pt x="378" y="228"/>
                    <a:pt x="378" y="228"/>
                    <a:pt x="378" y="228"/>
                  </a:cubicBezTo>
                  <a:cubicBezTo>
                    <a:pt x="379" y="230"/>
                    <a:pt x="380" y="232"/>
                    <a:pt x="381" y="234"/>
                  </a:cubicBezTo>
                  <a:cubicBezTo>
                    <a:pt x="402" y="231"/>
                    <a:pt x="402" y="231"/>
                    <a:pt x="402" y="231"/>
                  </a:cubicBezTo>
                  <a:cubicBezTo>
                    <a:pt x="408" y="263"/>
                    <a:pt x="408" y="263"/>
                    <a:pt x="408" y="263"/>
                  </a:cubicBezTo>
                  <a:cubicBezTo>
                    <a:pt x="386" y="267"/>
                    <a:pt x="386" y="267"/>
                    <a:pt x="386" y="267"/>
                  </a:cubicBezTo>
                  <a:cubicBezTo>
                    <a:pt x="386" y="268"/>
                    <a:pt x="386" y="269"/>
                    <a:pt x="386" y="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</p:grpSp>
      <p:sp>
        <p:nvSpPr>
          <p:cNvPr id="21" name="Freeform 30">
            <a:extLst>
              <a:ext uri="{FF2B5EF4-FFF2-40B4-BE49-F238E27FC236}">
                <a16:creationId xmlns:a16="http://schemas.microsoft.com/office/drawing/2014/main" id="{582FE0E3-FEB3-65E1-9794-2C42CF1EB013}"/>
              </a:ext>
            </a:extLst>
          </p:cNvPr>
          <p:cNvSpPr>
            <a:spLocks noEditPoints="1"/>
          </p:cNvSpPr>
          <p:nvPr/>
        </p:nvSpPr>
        <p:spPr bwMode="auto">
          <a:xfrm>
            <a:off x="6276774" y="2446973"/>
            <a:ext cx="727390" cy="722573"/>
          </a:xfrm>
          <a:custGeom>
            <a:avLst/>
            <a:gdLst>
              <a:gd name="T0" fmla="*/ 447 w 447"/>
              <a:gd name="T1" fmla="*/ 210 h 444"/>
              <a:gd name="T2" fmla="*/ 398 w 447"/>
              <a:gd name="T3" fmla="*/ 152 h 444"/>
              <a:gd name="T4" fmla="*/ 371 w 447"/>
              <a:gd name="T5" fmla="*/ 105 h 444"/>
              <a:gd name="T6" fmla="*/ 345 w 447"/>
              <a:gd name="T7" fmla="*/ 34 h 444"/>
              <a:gd name="T8" fmla="*/ 325 w 447"/>
              <a:gd name="T9" fmla="*/ 23 h 444"/>
              <a:gd name="T10" fmla="*/ 250 w 447"/>
              <a:gd name="T11" fmla="*/ 36 h 444"/>
              <a:gd name="T12" fmla="*/ 196 w 447"/>
              <a:gd name="T13" fmla="*/ 36 h 444"/>
              <a:gd name="T14" fmla="*/ 122 w 447"/>
              <a:gd name="T15" fmla="*/ 23 h 444"/>
              <a:gd name="T16" fmla="*/ 101 w 447"/>
              <a:gd name="T17" fmla="*/ 34 h 444"/>
              <a:gd name="T18" fmla="*/ 76 w 447"/>
              <a:gd name="T19" fmla="*/ 105 h 444"/>
              <a:gd name="T20" fmla="*/ 49 w 447"/>
              <a:gd name="T21" fmla="*/ 152 h 444"/>
              <a:gd name="T22" fmla="*/ 0 w 447"/>
              <a:gd name="T23" fmla="*/ 210 h 444"/>
              <a:gd name="T24" fmla="*/ 35 w 447"/>
              <a:gd name="T25" fmla="*/ 227 h 444"/>
              <a:gd name="T26" fmla="*/ 45 w 447"/>
              <a:gd name="T27" fmla="*/ 281 h 444"/>
              <a:gd name="T28" fmla="*/ 45 w 447"/>
              <a:gd name="T29" fmla="*/ 356 h 444"/>
              <a:gd name="T30" fmla="*/ 60 w 447"/>
              <a:gd name="T31" fmla="*/ 374 h 444"/>
              <a:gd name="T32" fmla="*/ 134 w 447"/>
              <a:gd name="T33" fmla="*/ 387 h 444"/>
              <a:gd name="T34" fmla="*/ 185 w 447"/>
              <a:gd name="T35" fmla="*/ 406 h 444"/>
              <a:gd name="T36" fmla="*/ 250 w 447"/>
              <a:gd name="T37" fmla="*/ 444 h 444"/>
              <a:gd name="T38" fmla="*/ 274 w 447"/>
              <a:gd name="T39" fmla="*/ 440 h 444"/>
              <a:gd name="T40" fmla="*/ 322 w 447"/>
              <a:gd name="T41" fmla="*/ 382 h 444"/>
              <a:gd name="T42" fmla="*/ 364 w 447"/>
              <a:gd name="T43" fmla="*/ 347 h 444"/>
              <a:gd name="T44" fmla="*/ 429 w 447"/>
              <a:gd name="T45" fmla="*/ 309 h 444"/>
              <a:gd name="T46" fmla="*/ 437 w 447"/>
              <a:gd name="T47" fmla="*/ 287 h 444"/>
              <a:gd name="T48" fmla="*/ 411 w 447"/>
              <a:gd name="T49" fmla="*/ 222 h 444"/>
              <a:gd name="T50" fmla="*/ 344 w 447"/>
              <a:gd name="T51" fmla="*/ 136 h 444"/>
              <a:gd name="T52" fmla="*/ 209 w 447"/>
              <a:gd name="T53" fmla="*/ 56 h 444"/>
              <a:gd name="T54" fmla="*/ 87 w 447"/>
              <a:gd name="T55" fmla="*/ 127 h 444"/>
              <a:gd name="T56" fmla="*/ 57 w 447"/>
              <a:gd name="T57" fmla="*/ 222 h 444"/>
              <a:gd name="T58" fmla="*/ 75 w 447"/>
              <a:gd name="T59" fmla="*/ 222 h 444"/>
              <a:gd name="T60" fmla="*/ 209 w 447"/>
              <a:gd name="T61" fmla="*/ 388 h 444"/>
              <a:gd name="T62" fmla="*/ 209 w 447"/>
              <a:gd name="T63" fmla="*/ 369 h 444"/>
              <a:gd name="T64" fmla="*/ 209 w 447"/>
              <a:gd name="T65" fmla="*/ 336 h 444"/>
              <a:gd name="T66" fmla="*/ 197 w 447"/>
              <a:gd name="T67" fmla="*/ 334 h 444"/>
              <a:gd name="T68" fmla="*/ 172 w 447"/>
              <a:gd name="T69" fmla="*/ 304 h 444"/>
              <a:gd name="T70" fmla="*/ 151 w 447"/>
              <a:gd name="T71" fmla="*/ 286 h 444"/>
              <a:gd name="T72" fmla="*/ 117 w 447"/>
              <a:gd name="T73" fmla="*/ 267 h 444"/>
              <a:gd name="T74" fmla="*/ 113 w 447"/>
              <a:gd name="T75" fmla="*/ 256 h 444"/>
              <a:gd name="T76" fmla="*/ 126 w 447"/>
              <a:gd name="T77" fmla="*/ 222 h 444"/>
              <a:gd name="T78" fmla="*/ 113 w 447"/>
              <a:gd name="T79" fmla="*/ 188 h 444"/>
              <a:gd name="T80" fmla="*/ 117 w 447"/>
              <a:gd name="T81" fmla="*/ 177 h 444"/>
              <a:gd name="T82" fmla="*/ 151 w 447"/>
              <a:gd name="T83" fmla="*/ 157 h 444"/>
              <a:gd name="T84" fmla="*/ 172 w 447"/>
              <a:gd name="T85" fmla="*/ 139 h 444"/>
              <a:gd name="T86" fmla="*/ 197 w 447"/>
              <a:gd name="T87" fmla="*/ 109 h 444"/>
              <a:gd name="T88" fmla="*/ 209 w 447"/>
              <a:gd name="T89" fmla="*/ 107 h 444"/>
              <a:gd name="T90" fmla="*/ 243 w 447"/>
              <a:gd name="T91" fmla="*/ 127 h 444"/>
              <a:gd name="T92" fmla="*/ 269 w 447"/>
              <a:gd name="T93" fmla="*/ 136 h 444"/>
              <a:gd name="T94" fmla="*/ 308 w 447"/>
              <a:gd name="T95" fmla="*/ 143 h 444"/>
              <a:gd name="T96" fmla="*/ 316 w 447"/>
              <a:gd name="T97" fmla="*/ 152 h 444"/>
              <a:gd name="T98" fmla="*/ 316 w 447"/>
              <a:gd name="T99" fmla="*/ 191 h 444"/>
              <a:gd name="T100" fmla="*/ 320 w 447"/>
              <a:gd name="T101" fmla="*/ 219 h 444"/>
              <a:gd name="T102" fmla="*/ 339 w 447"/>
              <a:gd name="T103" fmla="*/ 228 h 444"/>
              <a:gd name="T104" fmla="*/ 314 w 447"/>
              <a:gd name="T105" fmla="*/ 258 h 444"/>
              <a:gd name="T106" fmla="*/ 300 w 447"/>
              <a:gd name="T107" fmla="*/ 282 h 444"/>
              <a:gd name="T108" fmla="*/ 286 w 447"/>
              <a:gd name="T109" fmla="*/ 319 h 444"/>
              <a:gd name="T110" fmla="*/ 276 w 447"/>
              <a:gd name="T111" fmla="*/ 325 h 444"/>
              <a:gd name="T112" fmla="*/ 237 w 447"/>
              <a:gd name="T113" fmla="*/ 318 h 444"/>
              <a:gd name="T114" fmla="*/ 238 w 447"/>
              <a:gd name="T115" fmla="*/ 369 h 444"/>
              <a:gd name="T116" fmla="*/ 238 w 447"/>
              <a:gd name="T117" fmla="*/ 388 h 444"/>
              <a:gd name="T118" fmla="*/ 371 w 447"/>
              <a:gd name="T119" fmla="*/ 222 h 444"/>
              <a:gd name="T120" fmla="*/ 390 w 447"/>
              <a:gd name="T121" fmla="*/ 22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444">
                <a:moveTo>
                  <a:pt x="411" y="222"/>
                </a:moveTo>
                <a:cubicBezTo>
                  <a:pt x="411" y="220"/>
                  <a:pt x="411" y="218"/>
                  <a:pt x="411" y="216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37" y="157"/>
                  <a:pt x="437" y="157"/>
                  <a:pt x="437" y="157"/>
                </a:cubicBezTo>
                <a:cubicBezTo>
                  <a:pt x="402" y="163"/>
                  <a:pt x="402" y="163"/>
                  <a:pt x="402" y="163"/>
                </a:cubicBezTo>
                <a:cubicBezTo>
                  <a:pt x="401" y="159"/>
                  <a:pt x="399" y="156"/>
                  <a:pt x="398" y="152"/>
                </a:cubicBezTo>
                <a:cubicBezTo>
                  <a:pt x="429" y="134"/>
                  <a:pt x="429" y="134"/>
                  <a:pt x="429" y="134"/>
                </a:cubicBezTo>
                <a:cubicBezTo>
                  <a:pt x="402" y="87"/>
                  <a:pt x="402" y="87"/>
                  <a:pt x="402" y="87"/>
                </a:cubicBezTo>
                <a:cubicBezTo>
                  <a:pt x="371" y="105"/>
                  <a:pt x="371" y="105"/>
                  <a:pt x="371" y="105"/>
                </a:cubicBezTo>
                <a:cubicBezTo>
                  <a:pt x="369" y="102"/>
                  <a:pt x="366" y="100"/>
                  <a:pt x="364" y="97"/>
                </a:cubicBezTo>
                <a:cubicBezTo>
                  <a:pt x="387" y="69"/>
                  <a:pt x="387" y="69"/>
                  <a:pt x="387" y="69"/>
                </a:cubicBezTo>
                <a:cubicBezTo>
                  <a:pt x="345" y="34"/>
                  <a:pt x="345" y="34"/>
                  <a:pt x="345" y="34"/>
                </a:cubicBezTo>
                <a:cubicBezTo>
                  <a:pt x="322" y="62"/>
                  <a:pt x="322" y="62"/>
                  <a:pt x="322" y="62"/>
                </a:cubicBezTo>
                <a:cubicBezTo>
                  <a:pt x="319" y="60"/>
                  <a:pt x="316" y="58"/>
                  <a:pt x="312" y="56"/>
                </a:cubicBezTo>
                <a:cubicBezTo>
                  <a:pt x="325" y="23"/>
                  <a:pt x="325" y="23"/>
                  <a:pt x="325" y="23"/>
                </a:cubicBezTo>
                <a:cubicBezTo>
                  <a:pt x="274" y="4"/>
                  <a:pt x="274" y="4"/>
                  <a:pt x="274" y="4"/>
                </a:cubicBezTo>
                <a:cubicBezTo>
                  <a:pt x="261" y="38"/>
                  <a:pt x="261" y="38"/>
                  <a:pt x="261" y="38"/>
                </a:cubicBezTo>
                <a:cubicBezTo>
                  <a:pt x="258" y="37"/>
                  <a:pt x="254" y="36"/>
                  <a:pt x="250" y="36"/>
                </a:cubicBezTo>
                <a:cubicBezTo>
                  <a:pt x="250" y="0"/>
                  <a:pt x="250" y="0"/>
                  <a:pt x="250" y="0"/>
                </a:cubicBezTo>
                <a:cubicBezTo>
                  <a:pt x="196" y="0"/>
                  <a:pt x="196" y="0"/>
                  <a:pt x="196" y="0"/>
                </a:cubicBezTo>
                <a:cubicBezTo>
                  <a:pt x="196" y="36"/>
                  <a:pt x="196" y="36"/>
                  <a:pt x="196" y="36"/>
                </a:cubicBezTo>
                <a:cubicBezTo>
                  <a:pt x="192" y="36"/>
                  <a:pt x="189" y="37"/>
                  <a:pt x="185" y="38"/>
                </a:cubicBezTo>
                <a:cubicBezTo>
                  <a:pt x="173" y="4"/>
                  <a:pt x="173" y="4"/>
                  <a:pt x="173" y="4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31" y="58"/>
                  <a:pt x="128" y="60"/>
                  <a:pt x="124" y="62"/>
                </a:cubicBezTo>
                <a:cubicBezTo>
                  <a:pt x="101" y="34"/>
                  <a:pt x="101" y="34"/>
                  <a:pt x="101" y="34"/>
                </a:cubicBezTo>
                <a:cubicBezTo>
                  <a:pt x="60" y="69"/>
                  <a:pt x="60" y="69"/>
                  <a:pt x="60" y="69"/>
                </a:cubicBezTo>
                <a:cubicBezTo>
                  <a:pt x="83" y="97"/>
                  <a:pt x="83" y="97"/>
                  <a:pt x="83" y="97"/>
                </a:cubicBezTo>
                <a:cubicBezTo>
                  <a:pt x="80" y="100"/>
                  <a:pt x="78" y="102"/>
                  <a:pt x="76" y="105"/>
                </a:cubicBezTo>
                <a:cubicBezTo>
                  <a:pt x="45" y="87"/>
                  <a:pt x="45" y="87"/>
                  <a:pt x="45" y="87"/>
                </a:cubicBezTo>
                <a:cubicBezTo>
                  <a:pt x="18" y="134"/>
                  <a:pt x="18" y="134"/>
                  <a:pt x="18" y="134"/>
                </a:cubicBezTo>
                <a:cubicBezTo>
                  <a:pt x="49" y="152"/>
                  <a:pt x="49" y="152"/>
                  <a:pt x="49" y="152"/>
                </a:cubicBezTo>
                <a:cubicBezTo>
                  <a:pt x="47" y="156"/>
                  <a:pt x="46" y="159"/>
                  <a:pt x="45" y="163"/>
                </a:cubicBezTo>
                <a:cubicBezTo>
                  <a:pt x="9" y="157"/>
                  <a:pt x="9" y="157"/>
                  <a:pt x="9" y="157"/>
                </a:cubicBezTo>
                <a:cubicBezTo>
                  <a:pt x="0" y="210"/>
                  <a:pt x="0" y="210"/>
                  <a:pt x="0" y="210"/>
                </a:cubicBezTo>
                <a:cubicBezTo>
                  <a:pt x="35" y="216"/>
                  <a:pt x="35" y="216"/>
                  <a:pt x="35" y="216"/>
                </a:cubicBezTo>
                <a:cubicBezTo>
                  <a:pt x="35" y="218"/>
                  <a:pt x="35" y="220"/>
                  <a:pt x="35" y="222"/>
                </a:cubicBezTo>
                <a:cubicBezTo>
                  <a:pt x="35" y="224"/>
                  <a:pt x="35" y="226"/>
                  <a:pt x="35" y="227"/>
                </a:cubicBezTo>
                <a:cubicBezTo>
                  <a:pt x="0" y="234"/>
                  <a:pt x="0" y="234"/>
                  <a:pt x="0" y="234"/>
                </a:cubicBezTo>
                <a:cubicBezTo>
                  <a:pt x="9" y="287"/>
                  <a:pt x="9" y="287"/>
                  <a:pt x="9" y="287"/>
                </a:cubicBezTo>
                <a:cubicBezTo>
                  <a:pt x="45" y="281"/>
                  <a:pt x="45" y="281"/>
                  <a:pt x="45" y="281"/>
                </a:cubicBezTo>
                <a:cubicBezTo>
                  <a:pt x="46" y="284"/>
                  <a:pt x="47" y="288"/>
                  <a:pt x="49" y="291"/>
                </a:cubicBezTo>
                <a:cubicBezTo>
                  <a:pt x="18" y="309"/>
                  <a:pt x="18" y="309"/>
                  <a:pt x="18" y="309"/>
                </a:cubicBezTo>
                <a:cubicBezTo>
                  <a:pt x="45" y="356"/>
                  <a:pt x="45" y="356"/>
                  <a:pt x="45" y="356"/>
                </a:cubicBezTo>
                <a:cubicBezTo>
                  <a:pt x="76" y="338"/>
                  <a:pt x="76" y="338"/>
                  <a:pt x="76" y="338"/>
                </a:cubicBezTo>
                <a:cubicBezTo>
                  <a:pt x="78" y="341"/>
                  <a:pt x="80" y="344"/>
                  <a:pt x="83" y="347"/>
                </a:cubicBezTo>
                <a:cubicBezTo>
                  <a:pt x="60" y="374"/>
                  <a:pt x="60" y="374"/>
                  <a:pt x="60" y="374"/>
                </a:cubicBezTo>
                <a:cubicBezTo>
                  <a:pt x="101" y="409"/>
                  <a:pt x="101" y="409"/>
                  <a:pt x="101" y="409"/>
                </a:cubicBezTo>
                <a:cubicBezTo>
                  <a:pt x="124" y="382"/>
                  <a:pt x="124" y="382"/>
                  <a:pt x="124" y="382"/>
                </a:cubicBezTo>
                <a:cubicBezTo>
                  <a:pt x="128" y="384"/>
                  <a:pt x="131" y="386"/>
                  <a:pt x="134" y="387"/>
                </a:cubicBezTo>
                <a:cubicBezTo>
                  <a:pt x="122" y="421"/>
                  <a:pt x="122" y="421"/>
                  <a:pt x="122" y="421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85" y="406"/>
                  <a:pt x="185" y="406"/>
                  <a:pt x="185" y="406"/>
                </a:cubicBezTo>
                <a:cubicBezTo>
                  <a:pt x="189" y="407"/>
                  <a:pt x="192" y="407"/>
                  <a:pt x="196" y="408"/>
                </a:cubicBezTo>
                <a:cubicBezTo>
                  <a:pt x="196" y="444"/>
                  <a:pt x="196" y="444"/>
                  <a:pt x="196" y="444"/>
                </a:cubicBezTo>
                <a:cubicBezTo>
                  <a:pt x="250" y="444"/>
                  <a:pt x="250" y="444"/>
                  <a:pt x="250" y="444"/>
                </a:cubicBezTo>
                <a:cubicBezTo>
                  <a:pt x="250" y="408"/>
                  <a:pt x="250" y="408"/>
                  <a:pt x="250" y="408"/>
                </a:cubicBezTo>
                <a:cubicBezTo>
                  <a:pt x="254" y="407"/>
                  <a:pt x="258" y="407"/>
                  <a:pt x="261" y="406"/>
                </a:cubicBezTo>
                <a:cubicBezTo>
                  <a:pt x="274" y="440"/>
                  <a:pt x="274" y="440"/>
                  <a:pt x="274" y="440"/>
                </a:cubicBezTo>
                <a:cubicBezTo>
                  <a:pt x="325" y="421"/>
                  <a:pt x="325" y="421"/>
                  <a:pt x="325" y="421"/>
                </a:cubicBezTo>
                <a:cubicBezTo>
                  <a:pt x="312" y="387"/>
                  <a:pt x="312" y="387"/>
                  <a:pt x="312" y="387"/>
                </a:cubicBezTo>
                <a:cubicBezTo>
                  <a:pt x="316" y="386"/>
                  <a:pt x="319" y="384"/>
                  <a:pt x="322" y="382"/>
                </a:cubicBezTo>
                <a:cubicBezTo>
                  <a:pt x="345" y="409"/>
                  <a:pt x="345" y="409"/>
                  <a:pt x="345" y="409"/>
                </a:cubicBezTo>
                <a:cubicBezTo>
                  <a:pt x="387" y="374"/>
                  <a:pt x="387" y="374"/>
                  <a:pt x="387" y="374"/>
                </a:cubicBezTo>
                <a:cubicBezTo>
                  <a:pt x="364" y="347"/>
                  <a:pt x="364" y="347"/>
                  <a:pt x="364" y="347"/>
                </a:cubicBezTo>
                <a:cubicBezTo>
                  <a:pt x="366" y="344"/>
                  <a:pt x="368" y="341"/>
                  <a:pt x="371" y="338"/>
                </a:cubicBezTo>
                <a:cubicBezTo>
                  <a:pt x="402" y="356"/>
                  <a:pt x="402" y="356"/>
                  <a:pt x="402" y="356"/>
                </a:cubicBezTo>
                <a:cubicBezTo>
                  <a:pt x="429" y="309"/>
                  <a:pt x="429" y="309"/>
                  <a:pt x="429" y="309"/>
                </a:cubicBezTo>
                <a:cubicBezTo>
                  <a:pt x="398" y="291"/>
                  <a:pt x="398" y="291"/>
                  <a:pt x="398" y="291"/>
                </a:cubicBezTo>
                <a:cubicBezTo>
                  <a:pt x="399" y="288"/>
                  <a:pt x="401" y="284"/>
                  <a:pt x="402" y="281"/>
                </a:cubicBezTo>
                <a:cubicBezTo>
                  <a:pt x="437" y="287"/>
                  <a:pt x="437" y="287"/>
                  <a:pt x="437" y="287"/>
                </a:cubicBezTo>
                <a:cubicBezTo>
                  <a:pt x="447" y="234"/>
                  <a:pt x="447" y="234"/>
                  <a:pt x="447" y="234"/>
                </a:cubicBezTo>
                <a:cubicBezTo>
                  <a:pt x="411" y="227"/>
                  <a:pt x="411" y="227"/>
                  <a:pt x="411" y="227"/>
                </a:cubicBezTo>
                <a:cubicBezTo>
                  <a:pt x="411" y="226"/>
                  <a:pt x="411" y="224"/>
                  <a:pt x="411" y="222"/>
                </a:cubicBezTo>
                <a:close/>
                <a:moveTo>
                  <a:pt x="238" y="56"/>
                </a:moveTo>
                <a:cubicBezTo>
                  <a:pt x="288" y="60"/>
                  <a:pt x="332" y="87"/>
                  <a:pt x="360" y="127"/>
                </a:cubicBezTo>
                <a:cubicBezTo>
                  <a:pt x="344" y="136"/>
                  <a:pt x="344" y="136"/>
                  <a:pt x="344" y="136"/>
                </a:cubicBezTo>
                <a:cubicBezTo>
                  <a:pt x="320" y="102"/>
                  <a:pt x="281" y="78"/>
                  <a:pt x="238" y="74"/>
                </a:cubicBezTo>
                <a:lnTo>
                  <a:pt x="238" y="56"/>
                </a:lnTo>
                <a:close/>
                <a:moveTo>
                  <a:pt x="209" y="56"/>
                </a:moveTo>
                <a:cubicBezTo>
                  <a:pt x="209" y="74"/>
                  <a:pt x="209" y="74"/>
                  <a:pt x="209" y="74"/>
                </a:cubicBezTo>
                <a:cubicBezTo>
                  <a:pt x="165" y="78"/>
                  <a:pt x="127" y="102"/>
                  <a:pt x="103" y="136"/>
                </a:cubicBezTo>
                <a:cubicBezTo>
                  <a:pt x="87" y="127"/>
                  <a:pt x="87" y="127"/>
                  <a:pt x="87" y="127"/>
                </a:cubicBezTo>
                <a:cubicBezTo>
                  <a:pt x="114" y="87"/>
                  <a:pt x="158" y="60"/>
                  <a:pt x="209" y="56"/>
                </a:cubicBezTo>
                <a:close/>
                <a:moveTo>
                  <a:pt x="73" y="292"/>
                </a:moveTo>
                <a:cubicBezTo>
                  <a:pt x="63" y="271"/>
                  <a:pt x="57" y="247"/>
                  <a:pt x="57" y="222"/>
                </a:cubicBezTo>
                <a:cubicBezTo>
                  <a:pt x="57" y="197"/>
                  <a:pt x="63" y="173"/>
                  <a:pt x="73" y="151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0" y="179"/>
                  <a:pt x="75" y="200"/>
                  <a:pt x="75" y="222"/>
                </a:cubicBezTo>
                <a:cubicBezTo>
                  <a:pt x="75" y="244"/>
                  <a:pt x="80" y="265"/>
                  <a:pt x="88" y="283"/>
                </a:cubicBezTo>
                <a:lnTo>
                  <a:pt x="73" y="292"/>
                </a:lnTo>
                <a:close/>
                <a:moveTo>
                  <a:pt x="209" y="388"/>
                </a:moveTo>
                <a:cubicBezTo>
                  <a:pt x="158" y="383"/>
                  <a:pt x="114" y="356"/>
                  <a:pt x="87" y="317"/>
                </a:cubicBezTo>
                <a:cubicBezTo>
                  <a:pt x="103" y="308"/>
                  <a:pt x="103" y="308"/>
                  <a:pt x="103" y="308"/>
                </a:cubicBezTo>
                <a:cubicBezTo>
                  <a:pt x="127" y="342"/>
                  <a:pt x="165" y="365"/>
                  <a:pt x="209" y="369"/>
                </a:cubicBezTo>
                <a:lnTo>
                  <a:pt x="209" y="388"/>
                </a:lnTo>
                <a:close/>
                <a:moveTo>
                  <a:pt x="237" y="336"/>
                </a:moveTo>
                <a:cubicBezTo>
                  <a:pt x="209" y="336"/>
                  <a:pt x="209" y="336"/>
                  <a:pt x="209" y="336"/>
                </a:cubicBezTo>
                <a:cubicBezTo>
                  <a:pt x="209" y="318"/>
                  <a:pt x="209" y="318"/>
                  <a:pt x="209" y="318"/>
                </a:cubicBezTo>
                <a:cubicBezTo>
                  <a:pt x="207" y="318"/>
                  <a:pt x="205" y="317"/>
                  <a:pt x="204" y="317"/>
                </a:cubicBezTo>
                <a:cubicBezTo>
                  <a:pt x="197" y="334"/>
                  <a:pt x="197" y="334"/>
                  <a:pt x="197" y="334"/>
                </a:cubicBezTo>
                <a:cubicBezTo>
                  <a:pt x="171" y="325"/>
                  <a:pt x="171" y="325"/>
                  <a:pt x="171" y="325"/>
                </a:cubicBezTo>
                <a:cubicBezTo>
                  <a:pt x="177" y="307"/>
                  <a:pt x="177" y="307"/>
                  <a:pt x="177" y="307"/>
                </a:cubicBezTo>
                <a:cubicBezTo>
                  <a:pt x="176" y="306"/>
                  <a:pt x="174" y="305"/>
                  <a:pt x="172" y="304"/>
                </a:cubicBezTo>
                <a:cubicBezTo>
                  <a:pt x="160" y="319"/>
                  <a:pt x="160" y="319"/>
                  <a:pt x="160" y="319"/>
                </a:cubicBezTo>
                <a:cubicBezTo>
                  <a:pt x="139" y="301"/>
                  <a:pt x="139" y="301"/>
                  <a:pt x="139" y="301"/>
                </a:cubicBezTo>
                <a:cubicBezTo>
                  <a:pt x="151" y="286"/>
                  <a:pt x="151" y="286"/>
                  <a:pt x="151" y="286"/>
                </a:cubicBezTo>
                <a:cubicBezTo>
                  <a:pt x="149" y="285"/>
                  <a:pt x="148" y="284"/>
                  <a:pt x="147" y="282"/>
                </a:cubicBezTo>
                <a:cubicBezTo>
                  <a:pt x="131" y="291"/>
                  <a:pt x="131" y="291"/>
                  <a:pt x="131" y="291"/>
                </a:cubicBezTo>
                <a:cubicBezTo>
                  <a:pt x="117" y="267"/>
                  <a:pt x="117" y="267"/>
                  <a:pt x="117" y="267"/>
                </a:cubicBezTo>
                <a:cubicBezTo>
                  <a:pt x="133" y="258"/>
                  <a:pt x="133" y="258"/>
                  <a:pt x="133" y="258"/>
                </a:cubicBezTo>
                <a:cubicBezTo>
                  <a:pt x="132" y="256"/>
                  <a:pt x="132" y="254"/>
                  <a:pt x="131" y="252"/>
                </a:cubicBezTo>
                <a:cubicBezTo>
                  <a:pt x="113" y="256"/>
                  <a:pt x="113" y="256"/>
                  <a:pt x="113" y="256"/>
                </a:cubicBezTo>
                <a:cubicBezTo>
                  <a:pt x="108" y="228"/>
                  <a:pt x="108" y="228"/>
                  <a:pt x="108" y="228"/>
                </a:cubicBezTo>
                <a:cubicBezTo>
                  <a:pt x="126" y="225"/>
                  <a:pt x="126" y="225"/>
                  <a:pt x="126" y="225"/>
                </a:cubicBezTo>
                <a:cubicBezTo>
                  <a:pt x="126" y="224"/>
                  <a:pt x="126" y="223"/>
                  <a:pt x="126" y="222"/>
                </a:cubicBezTo>
                <a:cubicBezTo>
                  <a:pt x="126" y="221"/>
                  <a:pt x="126" y="220"/>
                  <a:pt x="126" y="219"/>
                </a:cubicBezTo>
                <a:cubicBezTo>
                  <a:pt x="108" y="216"/>
                  <a:pt x="108" y="216"/>
                  <a:pt x="108" y="216"/>
                </a:cubicBezTo>
                <a:cubicBezTo>
                  <a:pt x="113" y="188"/>
                  <a:pt x="113" y="188"/>
                  <a:pt x="113" y="188"/>
                </a:cubicBezTo>
                <a:cubicBezTo>
                  <a:pt x="131" y="191"/>
                  <a:pt x="131" y="191"/>
                  <a:pt x="131" y="191"/>
                </a:cubicBezTo>
                <a:cubicBezTo>
                  <a:pt x="132" y="189"/>
                  <a:pt x="132" y="188"/>
                  <a:pt x="133" y="186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31" y="152"/>
                  <a:pt x="131" y="152"/>
                  <a:pt x="131" y="152"/>
                </a:cubicBezTo>
                <a:cubicBezTo>
                  <a:pt x="147" y="162"/>
                  <a:pt x="147" y="162"/>
                  <a:pt x="147" y="162"/>
                </a:cubicBezTo>
                <a:cubicBezTo>
                  <a:pt x="148" y="160"/>
                  <a:pt x="149" y="159"/>
                  <a:pt x="151" y="157"/>
                </a:cubicBezTo>
                <a:cubicBezTo>
                  <a:pt x="139" y="143"/>
                  <a:pt x="139" y="143"/>
                  <a:pt x="139" y="143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72" y="139"/>
                  <a:pt x="172" y="139"/>
                  <a:pt x="172" y="139"/>
                </a:cubicBezTo>
                <a:cubicBezTo>
                  <a:pt x="174" y="138"/>
                  <a:pt x="176" y="137"/>
                  <a:pt x="177" y="136"/>
                </a:cubicBezTo>
                <a:cubicBezTo>
                  <a:pt x="171" y="119"/>
                  <a:pt x="171" y="119"/>
                  <a:pt x="171" y="119"/>
                </a:cubicBezTo>
                <a:cubicBezTo>
                  <a:pt x="197" y="109"/>
                  <a:pt x="197" y="109"/>
                  <a:pt x="197" y="109"/>
                </a:cubicBezTo>
                <a:cubicBezTo>
                  <a:pt x="204" y="127"/>
                  <a:pt x="204" y="127"/>
                  <a:pt x="204" y="127"/>
                </a:cubicBezTo>
                <a:cubicBezTo>
                  <a:pt x="205" y="126"/>
                  <a:pt x="207" y="126"/>
                  <a:pt x="209" y="126"/>
                </a:cubicBezTo>
                <a:cubicBezTo>
                  <a:pt x="209" y="107"/>
                  <a:pt x="209" y="107"/>
                  <a:pt x="209" y="107"/>
                </a:cubicBezTo>
                <a:cubicBezTo>
                  <a:pt x="237" y="107"/>
                  <a:pt x="237" y="107"/>
                  <a:pt x="237" y="107"/>
                </a:cubicBezTo>
                <a:cubicBezTo>
                  <a:pt x="237" y="126"/>
                  <a:pt x="237" y="126"/>
                  <a:pt x="237" y="126"/>
                </a:cubicBezTo>
                <a:cubicBezTo>
                  <a:pt x="239" y="126"/>
                  <a:pt x="241" y="126"/>
                  <a:pt x="243" y="127"/>
                </a:cubicBezTo>
                <a:cubicBezTo>
                  <a:pt x="249" y="109"/>
                  <a:pt x="249" y="109"/>
                  <a:pt x="249" y="109"/>
                </a:cubicBezTo>
                <a:cubicBezTo>
                  <a:pt x="276" y="119"/>
                  <a:pt x="276" y="119"/>
                  <a:pt x="276" y="119"/>
                </a:cubicBezTo>
                <a:cubicBezTo>
                  <a:pt x="269" y="136"/>
                  <a:pt x="269" y="136"/>
                  <a:pt x="269" y="136"/>
                </a:cubicBezTo>
                <a:cubicBezTo>
                  <a:pt x="271" y="137"/>
                  <a:pt x="273" y="138"/>
                  <a:pt x="274" y="139"/>
                </a:cubicBezTo>
                <a:cubicBezTo>
                  <a:pt x="286" y="125"/>
                  <a:pt x="286" y="125"/>
                  <a:pt x="286" y="125"/>
                </a:cubicBezTo>
                <a:cubicBezTo>
                  <a:pt x="308" y="143"/>
                  <a:pt x="308" y="143"/>
                  <a:pt x="308" y="143"/>
                </a:cubicBezTo>
                <a:cubicBezTo>
                  <a:pt x="296" y="157"/>
                  <a:pt x="296" y="157"/>
                  <a:pt x="296" y="157"/>
                </a:cubicBezTo>
                <a:cubicBezTo>
                  <a:pt x="297" y="159"/>
                  <a:pt x="298" y="160"/>
                  <a:pt x="300" y="162"/>
                </a:cubicBezTo>
                <a:cubicBezTo>
                  <a:pt x="316" y="152"/>
                  <a:pt x="316" y="152"/>
                  <a:pt x="316" y="152"/>
                </a:cubicBezTo>
                <a:cubicBezTo>
                  <a:pt x="330" y="177"/>
                  <a:pt x="330" y="177"/>
                  <a:pt x="330" y="177"/>
                </a:cubicBezTo>
                <a:cubicBezTo>
                  <a:pt x="314" y="186"/>
                  <a:pt x="314" y="186"/>
                  <a:pt x="314" y="186"/>
                </a:cubicBezTo>
                <a:cubicBezTo>
                  <a:pt x="314" y="188"/>
                  <a:pt x="315" y="189"/>
                  <a:pt x="316" y="191"/>
                </a:cubicBezTo>
                <a:cubicBezTo>
                  <a:pt x="334" y="188"/>
                  <a:pt x="334" y="188"/>
                  <a:pt x="334" y="188"/>
                </a:cubicBezTo>
                <a:cubicBezTo>
                  <a:pt x="339" y="216"/>
                  <a:pt x="339" y="216"/>
                  <a:pt x="339" y="216"/>
                </a:cubicBezTo>
                <a:cubicBezTo>
                  <a:pt x="320" y="219"/>
                  <a:pt x="320" y="219"/>
                  <a:pt x="320" y="219"/>
                </a:cubicBezTo>
                <a:cubicBezTo>
                  <a:pt x="320" y="220"/>
                  <a:pt x="320" y="221"/>
                  <a:pt x="320" y="222"/>
                </a:cubicBezTo>
                <a:cubicBezTo>
                  <a:pt x="320" y="223"/>
                  <a:pt x="320" y="224"/>
                  <a:pt x="320" y="225"/>
                </a:cubicBezTo>
                <a:cubicBezTo>
                  <a:pt x="339" y="228"/>
                  <a:pt x="339" y="228"/>
                  <a:pt x="339" y="228"/>
                </a:cubicBezTo>
                <a:cubicBezTo>
                  <a:pt x="334" y="256"/>
                  <a:pt x="334" y="256"/>
                  <a:pt x="334" y="256"/>
                </a:cubicBezTo>
                <a:cubicBezTo>
                  <a:pt x="316" y="252"/>
                  <a:pt x="316" y="252"/>
                  <a:pt x="316" y="252"/>
                </a:cubicBezTo>
                <a:cubicBezTo>
                  <a:pt x="315" y="254"/>
                  <a:pt x="314" y="256"/>
                  <a:pt x="314" y="258"/>
                </a:cubicBezTo>
                <a:cubicBezTo>
                  <a:pt x="330" y="267"/>
                  <a:pt x="330" y="267"/>
                  <a:pt x="330" y="267"/>
                </a:cubicBezTo>
                <a:cubicBezTo>
                  <a:pt x="316" y="291"/>
                  <a:pt x="316" y="291"/>
                  <a:pt x="316" y="291"/>
                </a:cubicBezTo>
                <a:cubicBezTo>
                  <a:pt x="300" y="282"/>
                  <a:pt x="300" y="282"/>
                  <a:pt x="300" y="282"/>
                </a:cubicBezTo>
                <a:cubicBezTo>
                  <a:pt x="298" y="284"/>
                  <a:pt x="297" y="285"/>
                  <a:pt x="296" y="286"/>
                </a:cubicBezTo>
                <a:cubicBezTo>
                  <a:pt x="308" y="301"/>
                  <a:pt x="308" y="301"/>
                  <a:pt x="308" y="301"/>
                </a:cubicBezTo>
                <a:cubicBezTo>
                  <a:pt x="286" y="319"/>
                  <a:pt x="286" y="319"/>
                  <a:pt x="286" y="319"/>
                </a:cubicBezTo>
                <a:cubicBezTo>
                  <a:pt x="274" y="304"/>
                  <a:pt x="274" y="304"/>
                  <a:pt x="274" y="304"/>
                </a:cubicBezTo>
                <a:cubicBezTo>
                  <a:pt x="273" y="305"/>
                  <a:pt x="271" y="306"/>
                  <a:pt x="269" y="307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249" y="334"/>
                  <a:pt x="249" y="334"/>
                  <a:pt x="249" y="334"/>
                </a:cubicBezTo>
                <a:cubicBezTo>
                  <a:pt x="243" y="317"/>
                  <a:pt x="243" y="317"/>
                  <a:pt x="243" y="317"/>
                </a:cubicBezTo>
                <a:cubicBezTo>
                  <a:pt x="241" y="317"/>
                  <a:pt x="239" y="318"/>
                  <a:pt x="237" y="318"/>
                </a:cubicBezTo>
                <a:lnTo>
                  <a:pt x="237" y="336"/>
                </a:lnTo>
                <a:close/>
                <a:moveTo>
                  <a:pt x="238" y="388"/>
                </a:moveTo>
                <a:cubicBezTo>
                  <a:pt x="238" y="369"/>
                  <a:pt x="238" y="369"/>
                  <a:pt x="238" y="369"/>
                </a:cubicBezTo>
                <a:cubicBezTo>
                  <a:pt x="281" y="365"/>
                  <a:pt x="320" y="342"/>
                  <a:pt x="344" y="308"/>
                </a:cubicBezTo>
                <a:cubicBezTo>
                  <a:pt x="360" y="317"/>
                  <a:pt x="360" y="317"/>
                  <a:pt x="360" y="317"/>
                </a:cubicBezTo>
                <a:cubicBezTo>
                  <a:pt x="332" y="356"/>
                  <a:pt x="288" y="383"/>
                  <a:pt x="238" y="388"/>
                </a:cubicBezTo>
                <a:close/>
                <a:moveTo>
                  <a:pt x="374" y="292"/>
                </a:moveTo>
                <a:cubicBezTo>
                  <a:pt x="358" y="283"/>
                  <a:pt x="358" y="283"/>
                  <a:pt x="358" y="283"/>
                </a:cubicBezTo>
                <a:cubicBezTo>
                  <a:pt x="367" y="265"/>
                  <a:pt x="371" y="244"/>
                  <a:pt x="371" y="222"/>
                </a:cubicBezTo>
                <a:cubicBezTo>
                  <a:pt x="371" y="200"/>
                  <a:pt x="367" y="179"/>
                  <a:pt x="358" y="160"/>
                </a:cubicBezTo>
                <a:cubicBezTo>
                  <a:pt x="374" y="151"/>
                  <a:pt x="374" y="151"/>
                  <a:pt x="374" y="151"/>
                </a:cubicBezTo>
                <a:cubicBezTo>
                  <a:pt x="384" y="173"/>
                  <a:pt x="390" y="197"/>
                  <a:pt x="390" y="222"/>
                </a:cubicBezTo>
                <a:cubicBezTo>
                  <a:pt x="390" y="247"/>
                  <a:pt x="384" y="271"/>
                  <a:pt x="374" y="292"/>
                </a:cubicBezTo>
                <a:close/>
              </a:path>
            </a:pathLst>
          </a:custGeom>
          <a:solidFill>
            <a:srgbClr val="FFC6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22" name="Freeform 31">
            <a:extLst>
              <a:ext uri="{FF2B5EF4-FFF2-40B4-BE49-F238E27FC236}">
                <a16:creationId xmlns:a16="http://schemas.microsoft.com/office/drawing/2014/main" id="{A6037657-699A-CCFC-30BC-C0446C06DC15}"/>
              </a:ext>
            </a:extLst>
          </p:cNvPr>
          <p:cNvSpPr>
            <a:spLocks noEditPoints="1"/>
          </p:cNvSpPr>
          <p:nvPr/>
        </p:nvSpPr>
        <p:spPr bwMode="auto">
          <a:xfrm>
            <a:off x="5685641" y="4814259"/>
            <a:ext cx="727390" cy="722573"/>
          </a:xfrm>
          <a:custGeom>
            <a:avLst/>
            <a:gdLst>
              <a:gd name="T0" fmla="*/ 437 w 447"/>
              <a:gd name="T1" fmla="*/ 157 h 444"/>
              <a:gd name="T2" fmla="*/ 402 w 447"/>
              <a:gd name="T3" fmla="*/ 88 h 444"/>
              <a:gd name="T4" fmla="*/ 346 w 447"/>
              <a:gd name="T5" fmla="*/ 35 h 444"/>
              <a:gd name="T6" fmla="*/ 274 w 447"/>
              <a:gd name="T7" fmla="*/ 4 h 444"/>
              <a:gd name="T8" fmla="*/ 197 w 447"/>
              <a:gd name="T9" fmla="*/ 0 h 444"/>
              <a:gd name="T10" fmla="*/ 122 w 447"/>
              <a:gd name="T11" fmla="*/ 23 h 444"/>
              <a:gd name="T12" fmla="*/ 60 w 447"/>
              <a:gd name="T13" fmla="*/ 70 h 444"/>
              <a:gd name="T14" fmla="*/ 18 w 447"/>
              <a:gd name="T15" fmla="*/ 135 h 444"/>
              <a:gd name="T16" fmla="*/ 0 w 447"/>
              <a:gd name="T17" fmla="*/ 210 h 444"/>
              <a:gd name="T18" fmla="*/ 0 w 447"/>
              <a:gd name="T19" fmla="*/ 234 h 444"/>
              <a:gd name="T20" fmla="*/ 18 w 447"/>
              <a:gd name="T21" fmla="*/ 310 h 444"/>
              <a:gd name="T22" fmla="*/ 60 w 447"/>
              <a:gd name="T23" fmla="*/ 375 h 444"/>
              <a:gd name="T24" fmla="*/ 122 w 447"/>
              <a:gd name="T25" fmla="*/ 421 h 444"/>
              <a:gd name="T26" fmla="*/ 197 w 447"/>
              <a:gd name="T27" fmla="*/ 444 h 444"/>
              <a:gd name="T28" fmla="*/ 274 w 447"/>
              <a:gd name="T29" fmla="*/ 440 h 444"/>
              <a:gd name="T30" fmla="*/ 346 w 447"/>
              <a:gd name="T31" fmla="*/ 410 h 444"/>
              <a:gd name="T32" fmla="*/ 402 w 447"/>
              <a:gd name="T33" fmla="*/ 357 h 444"/>
              <a:gd name="T34" fmla="*/ 437 w 447"/>
              <a:gd name="T35" fmla="*/ 287 h 444"/>
              <a:gd name="T36" fmla="*/ 238 w 447"/>
              <a:gd name="T37" fmla="*/ 56 h 444"/>
              <a:gd name="T38" fmla="*/ 238 w 447"/>
              <a:gd name="T39" fmla="*/ 56 h 444"/>
              <a:gd name="T40" fmla="*/ 314 w 447"/>
              <a:gd name="T41" fmla="*/ 258 h 444"/>
              <a:gd name="T42" fmla="*/ 296 w 447"/>
              <a:gd name="T43" fmla="*/ 287 h 444"/>
              <a:gd name="T44" fmla="*/ 339 w 447"/>
              <a:gd name="T45" fmla="*/ 228 h 444"/>
              <a:gd name="T46" fmla="*/ 133 w 447"/>
              <a:gd name="T47" fmla="*/ 258 h 444"/>
              <a:gd name="T48" fmla="*/ 113 w 447"/>
              <a:gd name="T49" fmla="*/ 227 h 444"/>
              <a:gd name="T50" fmla="*/ 147 w 447"/>
              <a:gd name="T51" fmla="*/ 282 h 444"/>
              <a:gd name="T52" fmla="*/ 133 w 447"/>
              <a:gd name="T53" fmla="*/ 186 h 444"/>
              <a:gd name="T54" fmla="*/ 151 w 447"/>
              <a:gd name="T55" fmla="*/ 158 h 444"/>
              <a:gd name="T56" fmla="*/ 108 w 447"/>
              <a:gd name="T57" fmla="*/ 216 h 444"/>
              <a:gd name="T58" fmla="*/ 314 w 447"/>
              <a:gd name="T59" fmla="*/ 186 h 444"/>
              <a:gd name="T60" fmla="*/ 334 w 447"/>
              <a:gd name="T61" fmla="*/ 217 h 444"/>
              <a:gd name="T62" fmla="*/ 300 w 447"/>
              <a:gd name="T63" fmla="*/ 162 h 444"/>
              <a:gd name="T64" fmla="*/ 270 w 447"/>
              <a:gd name="T65" fmla="*/ 137 h 444"/>
              <a:gd name="T66" fmla="*/ 229 w 447"/>
              <a:gd name="T67" fmla="*/ 210 h 444"/>
              <a:gd name="T68" fmla="*/ 243 w 447"/>
              <a:gd name="T69" fmla="*/ 127 h 444"/>
              <a:gd name="T70" fmla="*/ 146 w 447"/>
              <a:gd name="T71" fmla="*/ 137 h 444"/>
              <a:gd name="T72" fmla="*/ 171 w 447"/>
              <a:gd name="T73" fmla="*/ 119 h 444"/>
              <a:gd name="T74" fmla="*/ 210 w 447"/>
              <a:gd name="T75" fmla="*/ 107 h 444"/>
              <a:gd name="T76" fmla="*/ 87 w 447"/>
              <a:gd name="T77" fmla="*/ 127 h 444"/>
              <a:gd name="T78" fmla="*/ 73 w 447"/>
              <a:gd name="T79" fmla="*/ 152 h 444"/>
              <a:gd name="T80" fmla="*/ 73 w 447"/>
              <a:gd name="T81" fmla="*/ 293 h 444"/>
              <a:gd name="T82" fmla="*/ 209 w 447"/>
              <a:gd name="T83" fmla="*/ 370 h 444"/>
              <a:gd name="T84" fmla="*/ 171 w 447"/>
              <a:gd name="T85" fmla="*/ 325 h 444"/>
              <a:gd name="T86" fmla="*/ 146 w 447"/>
              <a:gd name="T87" fmla="*/ 307 h 444"/>
              <a:gd name="T88" fmla="*/ 210 w 447"/>
              <a:gd name="T89" fmla="*/ 318 h 444"/>
              <a:gd name="T90" fmla="*/ 229 w 447"/>
              <a:gd name="T91" fmla="*/ 235 h 444"/>
              <a:gd name="T92" fmla="*/ 270 w 447"/>
              <a:gd name="T93" fmla="*/ 308 h 444"/>
              <a:gd name="T94" fmla="*/ 238 w 447"/>
              <a:gd name="T95" fmla="*/ 318 h 444"/>
              <a:gd name="T96" fmla="*/ 344 w 447"/>
              <a:gd name="T97" fmla="*/ 308 h 444"/>
              <a:gd name="T98" fmla="*/ 359 w 447"/>
              <a:gd name="T99" fmla="*/ 284 h 444"/>
              <a:gd name="T100" fmla="*/ 390 w 447"/>
              <a:gd name="T101" fmla="*/ 22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7" h="444">
                <a:moveTo>
                  <a:pt x="412" y="222"/>
                </a:moveTo>
                <a:cubicBezTo>
                  <a:pt x="412" y="220"/>
                  <a:pt x="412" y="218"/>
                  <a:pt x="412" y="217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37" y="157"/>
                  <a:pt x="437" y="157"/>
                  <a:pt x="437" y="157"/>
                </a:cubicBezTo>
                <a:cubicBezTo>
                  <a:pt x="402" y="163"/>
                  <a:pt x="402" y="163"/>
                  <a:pt x="402" y="163"/>
                </a:cubicBezTo>
                <a:cubicBezTo>
                  <a:pt x="401" y="160"/>
                  <a:pt x="400" y="156"/>
                  <a:pt x="398" y="153"/>
                </a:cubicBezTo>
                <a:cubicBezTo>
                  <a:pt x="429" y="135"/>
                  <a:pt x="429" y="135"/>
                  <a:pt x="429" y="135"/>
                </a:cubicBezTo>
                <a:cubicBezTo>
                  <a:pt x="402" y="88"/>
                  <a:pt x="402" y="88"/>
                  <a:pt x="402" y="88"/>
                </a:cubicBezTo>
                <a:cubicBezTo>
                  <a:pt x="371" y="106"/>
                  <a:pt x="371" y="106"/>
                  <a:pt x="371" y="106"/>
                </a:cubicBezTo>
                <a:cubicBezTo>
                  <a:pt x="369" y="103"/>
                  <a:pt x="366" y="100"/>
                  <a:pt x="364" y="97"/>
                </a:cubicBezTo>
                <a:cubicBezTo>
                  <a:pt x="387" y="70"/>
                  <a:pt x="387" y="70"/>
                  <a:pt x="387" y="70"/>
                </a:cubicBezTo>
                <a:cubicBezTo>
                  <a:pt x="346" y="35"/>
                  <a:pt x="346" y="35"/>
                  <a:pt x="346" y="35"/>
                </a:cubicBezTo>
                <a:cubicBezTo>
                  <a:pt x="322" y="62"/>
                  <a:pt x="322" y="62"/>
                  <a:pt x="322" y="62"/>
                </a:cubicBezTo>
                <a:cubicBezTo>
                  <a:pt x="319" y="60"/>
                  <a:pt x="316" y="58"/>
                  <a:pt x="313" y="57"/>
                </a:cubicBezTo>
                <a:cubicBezTo>
                  <a:pt x="325" y="23"/>
                  <a:pt x="325" y="23"/>
                  <a:pt x="325" y="23"/>
                </a:cubicBezTo>
                <a:cubicBezTo>
                  <a:pt x="274" y="4"/>
                  <a:pt x="274" y="4"/>
                  <a:pt x="274" y="4"/>
                </a:cubicBezTo>
                <a:cubicBezTo>
                  <a:pt x="262" y="38"/>
                  <a:pt x="262" y="38"/>
                  <a:pt x="262" y="38"/>
                </a:cubicBezTo>
                <a:cubicBezTo>
                  <a:pt x="258" y="37"/>
                  <a:pt x="254" y="37"/>
                  <a:pt x="251" y="36"/>
                </a:cubicBezTo>
                <a:cubicBezTo>
                  <a:pt x="251" y="0"/>
                  <a:pt x="251" y="0"/>
                  <a:pt x="25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93" y="37"/>
                  <a:pt x="189" y="37"/>
                  <a:pt x="185" y="38"/>
                </a:cubicBezTo>
                <a:cubicBezTo>
                  <a:pt x="173" y="4"/>
                  <a:pt x="173" y="4"/>
                  <a:pt x="173" y="4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35" y="57"/>
                  <a:pt x="135" y="57"/>
                  <a:pt x="135" y="57"/>
                </a:cubicBezTo>
                <a:cubicBezTo>
                  <a:pt x="131" y="58"/>
                  <a:pt x="128" y="60"/>
                  <a:pt x="125" y="62"/>
                </a:cubicBezTo>
                <a:cubicBezTo>
                  <a:pt x="102" y="35"/>
                  <a:pt x="102" y="35"/>
                  <a:pt x="102" y="35"/>
                </a:cubicBezTo>
                <a:cubicBezTo>
                  <a:pt x="60" y="70"/>
                  <a:pt x="60" y="70"/>
                  <a:pt x="60" y="70"/>
                </a:cubicBezTo>
                <a:cubicBezTo>
                  <a:pt x="83" y="97"/>
                  <a:pt x="83" y="97"/>
                  <a:pt x="83" y="97"/>
                </a:cubicBezTo>
                <a:cubicBezTo>
                  <a:pt x="81" y="100"/>
                  <a:pt x="78" y="103"/>
                  <a:pt x="76" y="106"/>
                </a:cubicBezTo>
                <a:cubicBezTo>
                  <a:pt x="45" y="88"/>
                  <a:pt x="45" y="88"/>
                  <a:pt x="45" y="88"/>
                </a:cubicBezTo>
                <a:cubicBezTo>
                  <a:pt x="18" y="135"/>
                  <a:pt x="18" y="135"/>
                  <a:pt x="18" y="135"/>
                </a:cubicBezTo>
                <a:cubicBezTo>
                  <a:pt x="49" y="153"/>
                  <a:pt x="49" y="153"/>
                  <a:pt x="49" y="153"/>
                </a:cubicBezTo>
                <a:cubicBezTo>
                  <a:pt x="48" y="156"/>
                  <a:pt x="46" y="160"/>
                  <a:pt x="45" y="163"/>
                </a:cubicBezTo>
                <a:cubicBezTo>
                  <a:pt x="10" y="157"/>
                  <a:pt x="10" y="157"/>
                  <a:pt x="10" y="157"/>
                </a:cubicBezTo>
                <a:cubicBezTo>
                  <a:pt x="0" y="210"/>
                  <a:pt x="0" y="210"/>
                  <a:pt x="0" y="210"/>
                </a:cubicBezTo>
                <a:cubicBezTo>
                  <a:pt x="36" y="217"/>
                  <a:pt x="36" y="217"/>
                  <a:pt x="36" y="217"/>
                </a:cubicBezTo>
                <a:cubicBezTo>
                  <a:pt x="36" y="218"/>
                  <a:pt x="36" y="220"/>
                  <a:pt x="36" y="222"/>
                </a:cubicBezTo>
                <a:cubicBezTo>
                  <a:pt x="36" y="224"/>
                  <a:pt x="36" y="226"/>
                  <a:pt x="36" y="228"/>
                </a:cubicBezTo>
                <a:cubicBezTo>
                  <a:pt x="0" y="234"/>
                  <a:pt x="0" y="234"/>
                  <a:pt x="0" y="234"/>
                </a:cubicBezTo>
                <a:cubicBezTo>
                  <a:pt x="10" y="287"/>
                  <a:pt x="10" y="287"/>
                  <a:pt x="10" y="287"/>
                </a:cubicBezTo>
                <a:cubicBezTo>
                  <a:pt x="45" y="281"/>
                  <a:pt x="45" y="281"/>
                  <a:pt x="45" y="281"/>
                </a:cubicBezTo>
                <a:cubicBezTo>
                  <a:pt x="46" y="285"/>
                  <a:pt x="48" y="288"/>
                  <a:pt x="49" y="292"/>
                </a:cubicBezTo>
                <a:cubicBezTo>
                  <a:pt x="18" y="310"/>
                  <a:pt x="18" y="310"/>
                  <a:pt x="18" y="310"/>
                </a:cubicBezTo>
                <a:cubicBezTo>
                  <a:pt x="45" y="357"/>
                  <a:pt x="45" y="357"/>
                  <a:pt x="45" y="357"/>
                </a:cubicBezTo>
                <a:cubicBezTo>
                  <a:pt x="76" y="339"/>
                  <a:pt x="76" y="339"/>
                  <a:pt x="76" y="339"/>
                </a:cubicBezTo>
                <a:cubicBezTo>
                  <a:pt x="78" y="342"/>
                  <a:pt x="81" y="344"/>
                  <a:pt x="83" y="347"/>
                </a:cubicBezTo>
                <a:cubicBezTo>
                  <a:pt x="60" y="375"/>
                  <a:pt x="60" y="375"/>
                  <a:pt x="60" y="375"/>
                </a:cubicBezTo>
                <a:cubicBezTo>
                  <a:pt x="102" y="410"/>
                  <a:pt x="102" y="410"/>
                  <a:pt x="102" y="410"/>
                </a:cubicBezTo>
                <a:cubicBezTo>
                  <a:pt x="125" y="382"/>
                  <a:pt x="125" y="382"/>
                  <a:pt x="125" y="382"/>
                </a:cubicBezTo>
                <a:cubicBezTo>
                  <a:pt x="128" y="384"/>
                  <a:pt x="131" y="386"/>
                  <a:pt x="135" y="388"/>
                </a:cubicBezTo>
                <a:cubicBezTo>
                  <a:pt x="122" y="421"/>
                  <a:pt x="122" y="421"/>
                  <a:pt x="122" y="421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85" y="406"/>
                  <a:pt x="185" y="406"/>
                  <a:pt x="185" y="406"/>
                </a:cubicBezTo>
                <a:cubicBezTo>
                  <a:pt x="189" y="407"/>
                  <a:pt x="193" y="408"/>
                  <a:pt x="197" y="408"/>
                </a:cubicBezTo>
                <a:cubicBezTo>
                  <a:pt x="197" y="444"/>
                  <a:pt x="197" y="444"/>
                  <a:pt x="197" y="444"/>
                </a:cubicBezTo>
                <a:cubicBezTo>
                  <a:pt x="251" y="444"/>
                  <a:pt x="251" y="444"/>
                  <a:pt x="251" y="444"/>
                </a:cubicBezTo>
                <a:cubicBezTo>
                  <a:pt x="251" y="408"/>
                  <a:pt x="251" y="408"/>
                  <a:pt x="251" y="408"/>
                </a:cubicBezTo>
                <a:cubicBezTo>
                  <a:pt x="254" y="408"/>
                  <a:pt x="258" y="407"/>
                  <a:pt x="262" y="406"/>
                </a:cubicBezTo>
                <a:cubicBezTo>
                  <a:pt x="274" y="440"/>
                  <a:pt x="274" y="440"/>
                  <a:pt x="274" y="440"/>
                </a:cubicBezTo>
                <a:cubicBezTo>
                  <a:pt x="325" y="421"/>
                  <a:pt x="325" y="421"/>
                  <a:pt x="325" y="421"/>
                </a:cubicBezTo>
                <a:cubicBezTo>
                  <a:pt x="313" y="388"/>
                  <a:pt x="313" y="388"/>
                  <a:pt x="313" y="388"/>
                </a:cubicBezTo>
                <a:cubicBezTo>
                  <a:pt x="316" y="386"/>
                  <a:pt x="319" y="384"/>
                  <a:pt x="322" y="382"/>
                </a:cubicBezTo>
                <a:cubicBezTo>
                  <a:pt x="346" y="410"/>
                  <a:pt x="346" y="410"/>
                  <a:pt x="346" y="410"/>
                </a:cubicBezTo>
                <a:cubicBezTo>
                  <a:pt x="387" y="375"/>
                  <a:pt x="387" y="375"/>
                  <a:pt x="387" y="375"/>
                </a:cubicBezTo>
                <a:cubicBezTo>
                  <a:pt x="364" y="347"/>
                  <a:pt x="364" y="347"/>
                  <a:pt x="364" y="347"/>
                </a:cubicBezTo>
                <a:cubicBezTo>
                  <a:pt x="366" y="344"/>
                  <a:pt x="369" y="342"/>
                  <a:pt x="371" y="339"/>
                </a:cubicBezTo>
                <a:cubicBezTo>
                  <a:pt x="402" y="357"/>
                  <a:pt x="402" y="357"/>
                  <a:pt x="402" y="357"/>
                </a:cubicBezTo>
                <a:cubicBezTo>
                  <a:pt x="429" y="310"/>
                  <a:pt x="429" y="310"/>
                  <a:pt x="429" y="310"/>
                </a:cubicBezTo>
                <a:cubicBezTo>
                  <a:pt x="398" y="292"/>
                  <a:pt x="398" y="292"/>
                  <a:pt x="398" y="292"/>
                </a:cubicBezTo>
                <a:cubicBezTo>
                  <a:pt x="400" y="288"/>
                  <a:pt x="401" y="285"/>
                  <a:pt x="402" y="281"/>
                </a:cubicBezTo>
                <a:cubicBezTo>
                  <a:pt x="437" y="287"/>
                  <a:pt x="437" y="287"/>
                  <a:pt x="437" y="287"/>
                </a:cubicBezTo>
                <a:cubicBezTo>
                  <a:pt x="447" y="234"/>
                  <a:pt x="447" y="234"/>
                  <a:pt x="447" y="234"/>
                </a:cubicBezTo>
                <a:cubicBezTo>
                  <a:pt x="412" y="228"/>
                  <a:pt x="412" y="228"/>
                  <a:pt x="412" y="228"/>
                </a:cubicBezTo>
                <a:cubicBezTo>
                  <a:pt x="412" y="226"/>
                  <a:pt x="412" y="224"/>
                  <a:pt x="412" y="222"/>
                </a:cubicBezTo>
                <a:close/>
                <a:moveTo>
                  <a:pt x="238" y="56"/>
                </a:moveTo>
                <a:cubicBezTo>
                  <a:pt x="288" y="61"/>
                  <a:pt x="333" y="88"/>
                  <a:pt x="360" y="127"/>
                </a:cubicBezTo>
                <a:cubicBezTo>
                  <a:pt x="344" y="136"/>
                  <a:pt x="344" y="136"/>
                  <a:pt x="344" y="136"/>
                </a:cubicBezTo>
                <a:cubicBezTo>
                  <a:pt x="320" y="102"/>
                  <a:pt x="282" y="79"/>
                  <a:pt x="238" y="75"/>
                </a:cubicBezTo>
                <a:lnTo>
                  <a:pt x="238" y="56"/>
                </a:lnTo>
                <a:close/>
                <a:moveTo>
                  <a:pt x="339" y="228"/>
                </a:moveTo>
                <a:cubicBezTo>
                  <a:pt x="334" y="256"/>
                  <a:pt x="334" y="256"/>
                  <a:pt x="334" y="256"/>
                </a:cubicBezTo>
                <a:cubicBezTo>
                  <a:pt x="316" y="253"/>
                  <a:pt x="316" y="253"/>
                  <a:pt x="316" y="253"/>
                </a:cubicBezTo>
                <a:cubicBezTo>
                  <a:pt x="315" y="254"/>
                  <a:pt x="315" y="256"/>
                  <a:pt x="314" y="258"/>
                </a:cubicBezTo>
                <a:cubicBezTo>
                  <a:pt x="330" y="267"/>
                  <a:pt x="330" y="267"/>
                  <a:pt x="330" y="267"/>
                </a:cubicBezTo>
                <a:cubicBezTo>
                  <a:pt x="316" y="292"/>
                  <a:pt x="316" y="292"/>
                  <a:pt x="316" y="292"/>
                </a:cubicBezTo>
                <a:cubicBezTo>
                  <a:pt x="300" y="282"/>
                  <a:pt x="300" y="282"/>
                  <a:pt x="300" y="282"/>
                </a:cubicBezTo>
                <a:cubicBezTo>
                  <a:pt x="299" y="284"/>
                  <a:pt x="297" y="285"/>
                  <a:pt x="296" y="287"/>
                </a:cubicBezTo>
                <a:cubicBezTo>
                  <a:pt x="299" y="290"/>
                  <a:pt x="299" y="290"/>
                  <a:pt x="299" y="290"/>
                </a:cubicBezTo>
                <a:cubicBezTo>
                  <a:pt x="236" y="227"/>
                  <a:pt x="236" y="227"/>
                  <a:pt x="236" y="227"/>
                </a:cubicBezTo>
                <a:cubicBezTo>
                  <a:pt x="334" y="227"/>
                  <a:pt x="334" y="227"/>
                  <a:pt x="334" y="227"/>
                </a:cubicBezTo>
                <a:lnTo>
                  <a:pt x="339" y="228"/>
                </a:lnTo>
                <a:close/>
                <a:moveTo>
                  <a:pt x="147" y="282"/>
                </a:moveTo>
                <a:cubicBezTo>
                  <a:pt x="131" y="292"/>
                  <a:pt x="131" y="292"/>
                  <a:pt x="131" y="292"/>
                </a:cubicBezTo>
                <a:cubicBezTo>
                  <a:pt x="117" y="267"/>
                  <a:pt x="117" y="267"/>
                  <a:pt x="117" y="267"/>
                </a:cubicBezTo>
                <a:cubicBezTo>
                  <a:pt x="133" y="258"/>
                  <a:pt x="133" y="258"/>
                  <a:pt x="133" y="258"/>
                </a:cubicBezTo>
                <a:cubicBezTo>
                  <a:pt x="133" y="256"/>
                  <a:pt x="132" y="254"/>
                  <a:pt x="131" y="253"/>
                </a:cubicBezTo>
                <a:cubicBezTo>
                  <a:pt x="113" y="256"/>
                  <a:pt x="113" y="256"/>
                  <a:pt x="113" y="256"/>
                </a:cubicBezTo>
                <a:cubicBezTo>
                  <a:pt x="108" y="228"/>
                  <a:pt x="108" y="228"/>
                  <a:pt x="108" y="228"/>
                </a:cubicBezTo>
                <a:cubicBezTo>
                  <a:pt x="113" y="227"/>
                  <a:pt x="113" y="227"/>
                  <a:pt x="113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148" y="290"/>
                  <a:pt x="148" y="290"/>
                  <a:pt x="148" y="290"/>
                </a:cubicBezTo>
                <a:cubicBezTo>
                  <a:pt x="151" y="287"/>
                  <a:pt x="151" y="287"/>
                  <a:pt x="151" y="287"/>
                </a:cubicBezTo>
                <a:cubicBezTo>
                  <a:pt x="150" y="285"/>
                  <a:pt x="149" y="284"/>
                  <a:pt x="147" y="282"/>
                </a:cubicBezTo>
                <a:close/>
                <a:moveTo>
                  <a:pt x="108" y="216"/>
                </a:moveTo>
                <a:cubicBezTo>
                  <a:pt x="113" y="188"/>
                  <a:pt x="113" y="188"/>
                  <a:pt x="113" y="188"/>
                </a:cubicBezTo>
                <a:cubicBezTo>
                  <a:pt x="131" y="192"/>
                  <a:pt x="131" y="192"/>
                  <a:pt x="131" y="192"/>
                </a:cubicBezTo>
                <a:cubicBezTo>
                  <a:pt x="132" y="190"/>
                  <a:pt x="133" y="188"/>
                  <a:pt x="133" y="186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31" y="153"/>
                  <a:pt x="131" y="153"/>
                  <a:pt x="131" y="153"/>
                </a:cubicBezTo>
                <a:cubicBezTo>
                  <a:pt x="147" y="162"/>
                  <a:pt x="147" y="162"/>
                  <a:pt x="147" y="162"/>
                </a:cubicBezTo>
                <a:cubicBezTo>
                  <a:pt x="149" y="160"/>
                  <a:pt x="150" y="159"/>
                  <a:pt x="151" y="158"/>
                </a:cubicBezTo>
                <a:cubicBezTo>
                  <a:pt x="148" y="154"/>
                  <a:pt x="148" y="154"/>
                  <a:pt x="148" y="154"/>
                </a:cubicBezTo>
                <a:cubicBezTo>
                  <a:pt x="211" y="217"/>
                  <a:pt x="211" y="217"/>
                  <a:pt x="211" y="217"/>
                </a:cubicBezTo>
                <a:cubicBezTo>
                  <a:pt x="113" y="217"/>
                  <a:pt x="113" y="217"/>
                  <a:pt x="113" y="217"/>
                </a:cubicBezTo>
                <a:lnTo>
                  <a:pt x="108" y="216"/>
                </a:lnTo>
                <a:close/>
                <a:moveTo>
                  <a:pt x="300" y="162"/>
                </a:moveTo>
                <a:cubicBezTo>
                  <a:pt x="316" y="153"/>
                  <a:pt x="316" y="153"/>
                  <a:pt x="316" y="153"/>
                </a:cubicBezTo>
                <a:cubicBezTo>
                  <a:pt x="330" y="177"/>
                  <a:pt x="330" y="177"/>
                  <a:pt x="330" y="177"/>
                </a:cubicBezTo>
                <a:cubicBezTo>
                  <a:pt x="314" y="186"/>
                  <a:pt x="314" y="186"/>
                  <a:pt x="314" y="186"/>
                </a:cubicBezTo>
                <a:cubicBezTo>
                  <a:pt x="315" y="188"/>
                  <a:pt x="315" y="190"/>
                  <a:pt x="316" y="192"/>
                </a:cubicBezTo>
                <a:cubicBezTo>
                  <a:pt x="334" y="188"/>
                  <a:pt x="334" y="188"/>
                  <a:pt x="334" y="188"/>
                </a:cubicBezTo>
                <a:cubicBezTo>
                  <a:pt x="339" y="216"/>
                  <a:pt x="339" y="216"/>
                  <a:pt x="339" y="216"/>
                </a:cubicBezTo>
                <a:cubicBezTo>
                  <a:pt x="334" y="217"/>
                  <a:pt x="334" y="217"/>
                  <a:pt x="334" y="217"/>
                </a:cubicBezTo>
                <a:cubicBezTo>
                  <a:pt x="236" y="217"/>
                  <a:pt x="236" y="217"/>
                  <a:pt x="236" y="217"/>
                </a:cubicBezTo>
                <a:cubicBezTo>
                  <a:pt x="299" y="154"/>
                  <a:pt x="299" y="154"/>
                  <a:pt x="299" y="154"/>
                </a:cubicBezTo>
                <a:cubicBezTo>
                  <a:pt x="296" y="158"/>
                  <a:pt x="296" y="158"/>
                  <a:pt x="296" y="158"/>
                </a:cubicBezTo>
                <a:cubicBezTo>
                  <a:pt x="297" y="159"/>
                  <a:pt x="299" y="160"/>
                  <a:pt x="300" y="162"/>
                </a:cubicBezTo>
                <a:close/>
                <a:moveTo>
                  <a:pt x="243" y="127"/>
                </a:moveTo>
                <a:cubicBezTo>
                  <a:pt x="250" y="110"/>
                  <a:pt x="250" y="110"/>
                  <a:pt x="250" y="110"/>
                </a:cubicBezTo>
                <a:cubicBezTo>
                  <a:pt x="276" y="119"/>
                  <a:pt x="276" y="119"/>
                  <a:pt x="276" y="119"/>
                </a:cubicBezTo>
                <a:cubicBezTo>
                  <a:pt x="270" y="137"/>
                  <a:pt x="270" y="137"/>
                  <a:pt x="270" y="137"/>
                </a:cubicBezTo>
                <a:cubicBezTo>
                  <a:pt x="271" y="138"/>
                  <a:pt x="273" y="138"/>
                  <a:pt x="275" y="140"/>
                </a:cubicBezTo>
                <a:cubicBezTo>
                  <a:pt x="287" y="125"/>
                  <a:pt x="287" y="125"/>
                  <a:pt x="287" y="125"/>
                </a:cubicBezTo>
                <a:cubicBezTo>
                  <a:pt x="301" y="137"/>
                  <a:pt x="301" y="137"/>
                  <a:pt x="301" y="137"/>
                </a:cubicBezTo>
                <a:cubicBezTo>
                  <a:pt x="229" y="210"/>
                  <a:pt x="229" y="210"/>
                  <a:pt x="229" y="210"/>
                </a:cubicBezTo>
                <a:cubicBezTo>
                  <a:pt x="229" y="107"/>
                  <a:pt x="229" y="107"/>
                  <a:pt x="229" y="107"/>
                </a:cubicBezTo>
                <a:cubicBezTo>
                  <a:pt x="238" y="107"/>
                  <a:pt x="238" y="107"/>
                  <a:pt x="238" y="107"/>
                </a:cubicBezTo>
                <a:cubicBezTo>
                  <a:pt x="238" y="126"/>
                  <a:pt x="238" y="126"/>
                  <a:pt x="238" y="126"/>
                </a:cubicBezTo>
                <a:cubicBezTo>
                  <a:pt x="240" y="126"/>
                  <a:pt x="241" y="127"/>
                  <a:pt x="243" y="127"/>
                </a:cubicBezTo>
                <a:close/>
                <a:moveTo>
                  <a:pt x="210" y="107"/>
                </a:moveTo>
                <a:cubicBezTo>
                  <a:pt x="218" y="107"/>
                  <a:pt x="218" y="107"/>
                  <a:pt x="218" y="107"/>
                </a:cubicBezTo>
                <a:cubicBezTo>
                  <a:pt x="218" y="210"/>
                  <a:pt x="218" y="210"/>
                  <a:pt x="218" y="210"/>
                </a:cubicBezTo>
                <a:cubicBezTo>
                  <a:pt x="146" y="137"/>
                  <a:pt x="146" y="137"/>
                  <a:pt x="146" y="137"/>
                </a:cubicBezTo>
                <a:cubicBezTo>
                  <a:pt x="161" y="125"/>
                  <a:pt x="161" y="125"/>
                  <a:pt x="161" y="125"/>
                </a:cubicBezTo>
                <a:cubicBezTo>
                  <a:pt x="173" y="140"/>
                  <a:pt x="173" y="140"/>
                  <a:pt x="173" y="140"/>
                </a:cubicBezTo>
                <a:cubicBezTo>
                  <a:pt x="174" y="138"/>
                  <a:pt x="176" y="138"/>
                  <a:pt x="178" y="137"/>
                </a:cubicBezTo>
                <a:cubicBezTo>
                  <a:pt x="171" y="119"/>
                  <a:pt x="171" y="119"/>
                  <a:pt x="171" y="119"/>
                </a:cubicBezTo>
                <a:cubicBezTo>
                  <a:pt x="198" y="110"/>
                  <a:pt x="198" y="110"/>
                  <a:pt x="198" y="110"/>
                </a:cubicBezTo>
                <a:cubicBezTo>
                  <a:pt x="204" y="127"/>
                  <a:pt x="204" y="127"/>
                  <a:pt x="204" y="127"/>
                </a:cubicBezTo>
                <a:cubicBezTo>
                  <a:pt x="206" y="127"/>
                  <a:pt x="208" y="126"/>
                  <a:pt x="210" y="126"/>
                </a:cubicBezTo>
                <a:lnTo>
                  <a:pt x="210" y="107"/>
                </a:lnTo>
                <a:close/>
                <a:moveTo>
                  <a:pt x="209" y="56"/>
                </a:moveTo>
                <a:cubicBezTo>
                  <a:pt x="209" y="75"/>
                  <a:pt x="209" y="75"/>
                  <a:pt x="209" y="75"/>
                </a:cubicBezTo>
                <a:cubicBezTo>
                  <a:pt x="166" y="79"/>
                  <a:pt x="127" y="102"/>
                  <a:pt x="103" y="136"/>
                </a:cubicBezTo>
                <a:cubicBezTo>
                  <a:pt x="87" y="127"/>
                  <a:pt x="87" y="127"/>
                  <a:pt x="87" y="127"/>
                </a:cubicBezTo>
                <a:cubicBezTo>
                  <a:pt x="115" y="88"/>
                  <a:pt x="159" y="61"/>
                  <a:pt x="209" y="56"/>
                </a:cubicBezTo>
                <a:close/>
                <a:moveTo>
                  <a:pt x="73" y="293"/>
                </a:moveTo>
                <a:cubicBezTo>
                  <a:pt x="63" y="271"/>
                  <a:pt x="57" y="247"/>
                  <a:pt x="57" y="222"/>
                </a:cubicBezTo>
                <a:cubicBezTo>
                  <a:pt x="57" y="197"/>
                  <a:pt x="63" y="173"/>
                  <a:pt x="73" y="152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0" y="179"/>
                  <a:pt x="75" y="200"/>
                  <a:pt x="75" y="222"/>
                </a:cubicBezTo>
                <a:cubicBezTo>
                  <a:pt x="75" y="244"/>
                  <a:pt x="80" y="265"/>
                  <a:pt x="89" y="284"/>
                </a:cubicBezTo>
                <a:lnTo>
                  <a:pt x="73" y="293"/>
                </a:lnTo>
                <a:close/>
                <a:moveTo>
                  <a:pt x="209" y="388"/>
                </a:moveTo>
                <a:cubicBezTo>
                  <a:pt x="159" y="384"/>
                  <a:pt x="115" y="357"/>
                  <a:pt x="87" y="317"/>
                </a:cubicBezTo>
                <a:cubicBezTo>
                  <a:pt x="103" y="308"/>
                  <a:pt x="103" y="308"/>
                  <a:pt x="103" y="308"/>
                </a:cubicBezTo>
                <a:cubicBezTo>
                  <a:pt x="127" y="342"/>
                  <a:pt x="166" y="366"/>
                  <a:pt x="209" y="370"/>
                </a:cubicBezTo>
                <a:lnTo>
                  <a:pt x="209" y="388"/>
                </a:lnTo>
                <a:close/>
                <a:moveTo>
                  <a:pt x="204" y="317"/>
                </a:moveTo>
                <a:cubicBezTo>
                  <a:pt x="198" y="335"/>
                  <a:pt x="198" y="335"/>
                  <a:pt x="198" y="335"/>
                </a:cubicBezTo>
                <a:cubicBezTo>
                  <a:pt x="171" y="325"/>
                  <a:pt x="171" y="325"/>
                  <a:pt x="171" y="325"/>
                </a:cubicBezTo>
                <a:cubicBezTo>
                  <a:pt x="178" y="308"/>
                  <a:pt x="178" y="308"/>
                  <a:pt x="178" y="308"/>
                </a:cubicBezTo>
                <a:cubicBezTo>
                  <a:pt x="176" y="307"/>
                  <a:pt x="174" y="306"/>
                  <a:pt x="173" y="305"/>
                </a:cubicBezTo>
                <a:cubicBezTo>
                  <a:pt x="161" y="319"/>
                  <a:pt x="161" y="319"/>
                  <a:pt x="161" y="319"/>
                </a:cubicBezTo>
                <a:cubicBezTo>
                  <a:pt x="146" y="307"/>
                  <a:pt x="146" y="307"/>
                  <a:pt x="146" y="307"/>
                </a:cubicBezTo>
                <a:cubicBezTo>
                  <a:pt x="218" y="235"/>
                  <a:pt x="218" y="235"/>
                  <a:pt x="218" y="235"/>
                </a:cubicBezTo>
                <a:cubicBezTo>
                  <a:pt x="218" y="337"/>
                  <a:pt x="218" y="337"/>
                  <a:pt x="218" y="337"/>
                </a:cubicBezTo>
                <a:cubicBezTo>
                  <a:pt x="210" y="337"/>
                  <a:pt x="210" y="337"/>
                  <a:pt x="210" y="337"/>
                </a:cubicBezTo>
                <a:cubicBezTo>
                  <a:pt x="210" y="318"/>
                  <a:pt x="210" y="318"/>
                  <a:pt x="210" y="318"/>
                </a:cubicBezTo>
                <a:cubicBezTo>
                  <a:pt x="208" y="318"/>
                  <a:pt x="206" y="318"/>
                  <a:pt x="204" y="317"/>
                </a:cubicBezTo>
                <a:close/>
                <a:moveTo>
                  <a:pt x="238" y="337"/>
                </a:moveTo>
                <a:cubicBezTo>
                  <a:pt x="229" y="337"/>
                  <a:pt x="229" y="337"/>
                  <a:pt x="229" y="337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301" y="307"/>
                  <a:pt x="301" y="307"/>
                  <a:pt x="301" y="307"/>
                </a:cubicBezTo>
                <a:cubicBezTo>
                  <a:pt x="287" y="319"/>
                  <a:pt x="287" y="319"/>
                  <a:pt x="287" y="319"/>
                </a:cubicBezTo>
                <a:cubicBezTo>
                  <a:pt x="275" y="305"/>
                  <a:pt x="275" y="305"/>
                  <a:pt x="275" y="305"/>
                </a:cubicBezTo>
                <a:cubicBezTo>
                  <a:pt x="273" y="306"/>
                  <a:pt x="271" y="307"/>
                  <a:pt x="270" y="308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250" y="335"/>
                  <a:pt x="250" y="335"/>
                  <a:pt x="250" y="335"/>
                </a:cubicBezTo>
                <a:cubicBezTo>
                  <a:pt x="243" y="317"/>
                  <a:pt x="243" y="317"/>
                  <a:pt x="243" y="317"/>
                </a:cubicBezTo>
                <a:cubicBezTo>
                  <a:pt x="241" y="318"/>
                  <a:pt x="240" y="318"/>
                  <a:pt x="238" y="318"/>
                </a:cubicBezTo>
                <a:lnTo>
                  <a:pt x="238" y="337"/>
                </a:lnTo>
                <a:close/>
                <a:moveTo>
                  <a:pt x="238" y="388"/>
                </a:moveTo>
                <a:cubicBezTo>
                  <a:pt x="238" y="370"/>
                  <a:pt x="238" y="370"/>
                  <a:pt x="238" y="370"/>
                </a:cubicBezTo>
                <a:cubicBezTo>
                  <a:pt x="282" y="366"/>
                  <a:pt x="320" y="342"/>
                  <a:pt x="344" y="308"/>
                </a:cubicBezTo>
                <a:cubicBezTo>
                  <a:pt x="360" y="317"/>
                  <a:pt x="360" y="317"/>
                  <a:pt x="360" y="317"/>
                </a:cubicBezTo>
                <a:cubicBezTo>
                  <a:pt x="333" y="357"/>
                  <a:pt x="288" y="384"/>
                  <a:pt x="238" y="388"/>
                </a:cubicBezTo>
                <a:close/>
                <a:moveTo>
                  <a:pt x="374" y="293"/>
                </a:moveTo>
                <a:cubicBezTo>
                  <a:pt x="359" y="284"/>
                  <a:pt x="359" y="284"/>
                  <a:pt x="359" y="284"/>
                </a:cubicBezTo>
                <a:cubicBezTo>
                  <a:pt x="367" y="265"/>
                  <a:pt x="372" y="244"/>
                  <a:pt x="372" y="222"/>
                </a:cubicBezTo>
                <a:cubicBezTo>
                  <a:pt x="372" y="200"/>
                  <a:pt x="367" y="179"/>
                  <a:pt x="359" y="161"/>
                </a:cubicBezTo>
                <a:cubicBezTo>
                  <a:pt x="374" y="152"/>
                  <a:pt x="374" y="152"/>
                  <a:pt x="374" y="152"/>
                </a:cubicBezTo>
                <a:cubicBezTo>
                  <a:pt x="384" y="173"/>
                  <a:pt x="390" y="197"/>
                  <a:pt x="390" y="222"/>
                </a:cubicBezTo>
                <a:cubicBezTo>
                  <a:pt x="390" y="247"/>
                  <a:pt x="384" y="271"/>
                  <a:pt x="374" y="293"/>
                </a:cubicBezTo>
                <a:close/>
              </a:path>
            </a:pathLst>
          </a:custGeom>
          <a:solidFill>
            <a:srgbClr val="75787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23" name="Group 2">
            <a:extLst>
              <a:ext uri="{FF2B5EF4-FFF2-40B4-BE49-F238E27FC236}">
                <a16:creationId xmlns:a16="http://schemas.microsoft.com/office/drawing/2014/main" id="{C47BD2B7-5BDF-F6A5-0219-D33531D469F8}"/>
              </a:ext>
            </a:extLst>
          </p:cNvPr>
          <p:cNvGrpSpPr/>
          <p:nvPr/>
        </p:nvGrpSpPr>
        <p:grpSpPr>
          <a:xfrm>
            <a:off x="6413031" y="4876194"/>
            <a:ext cx="885668" cy="880851"/>
            <a:chOff x="6413031" y="4129434"/>
            <a:chExt cx="885668" cy="880851"/>
          </a:xfrm>
          <a:solidFill>
            <a:srgbClr val="00257C"/>
          </a:solidFill>
        </p:grpSpPr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657CB1A9-AD34-8D3F-24D0-2B7438D137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9437" y="4352399"/>
              <a:ext cx="432855" cy="432856"/>
            </a:xfrm>
            <a:custGeom>
              <a:avLst/>
              <a:gdLst>
                <a:gd name="T0" fmla="*/ 133 w 266"/>
                <a:gd name="T1" fmla="*/ 0 h 266"/>
                <a:gd name="T2" fmla="*/ 0 w 266"/>
                <a:gd name="T3" fmla="*/ 133 h 266"/>
                <a:gd name="T4" fmla="*/ 133 w 266"/>
                <a:gd name="T5" fmla="*/ 266 h 266"/>
                <a:gd name="T6" fmla="*/ 266 w 266"/>
                <a:gd name="T7" fmla="*/ 133 h 266"/>
                <a:gd name="T8" fmla="*/ 133 w 266"/>
                <a:gd name="T9" fmla="*/ 0 h 266"/>
                <a:gd name="T10" fmla="*/ 133 w 266"/>
                <a:gd name="T11" fmla="*/ 219 h 266"/>
                <a:gd name="T12" fmla="*/ 47 w 266"/>
                <a:gd name="T13" fmla="*/ 133 h 266"/>
                <a:gd name="T14" fmla="*/ 133 w 266"/>
                <a:gd name="T15" fmla="*/ 47 h 266"/>
                <a:gd name="T16" fmla="*/ 219 w 266"/>
                <a:gd name="T17" fmla="*/ 133 h 266"/>
                <a:gd name="T18" fmla="*/ 133 w 266"/>
                <a:gd name="T19" fmla="*/ 21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133" y="0"/>
                  </a:moveTo>
                  <a:cubicBezTo>
                    <a:pt x="60" y="0"/>
                    <a:pt x="0" y="60"/>
                    <a:pt x="0" y="133"/>
                  </a:cubicBezTo>
                  <a:cubicBezTo>
                    <a:pt x="0" y="207"/>
                    <a:pt x="60" y="266"/>
                    <a:pt x="133" y="266"/>
                  </a:cubicBezTo>
                  <a:cubicBezTo>
                    <a:pt x="206" y="266"/>
                    <a:pt x="266" y="207"/>
                    <a:pt x="266" y="133"/>
                  </a:cubicBezTo>
                  <a:cubicBezTo>
                    <a:pt x="266" y="60"/>
                    <a:pt x="206" y="0"/>
                    <a:pt x="133" y="0"/>
                  </a:cubicBezTo>
                  <a:close/>
                  <a:moveTo>
                    <a:pt x="133" y="219"/>
                  </a:moveTo>
                  <a:cubicBezTo>
                    <a:pt x="85" y="219"/>
                    <a:pt x="47" y="181"/>
                    <a:pt x="47" y="133"/>
                  </a:cubicBezTo>
                  <a:cubicBezTo>
                    <a:pt x="47" y="86"/>
                    <a:pt x="85" y="47"/>
                    <a:pt x="133" y="47"/>
                  </a:cubicBezTo>
                  <a:cubicBezTo>
                    <a:pt x="181" y="47"/>
                    <a:pt x="219" y="86"/>
                    <a:pt x="219" y="133"/>
                  </a:cubicBezTo>
                  <a:cubicBezTo>
                    <a:pt x="219" y="181"/>
                    <a:pt x="181" y="219"/>
                    <a:pt x="133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DC3A1B0A-6B3F-579B-FA58-91F31D07B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8489" y="4471452"/>
              <a:ext cx="196815" cy="196815"/>
            </a:xfrm>
            <a:custGeom>
              <a:avLst/>
              <a:gdLst>
                <a:gd name="T0" fmla="*/ 60 w 121"/>
                <a:gd name="T1" fmla="*/ 0 h 121"/>
                <a:gd name="T2" fmla="*/ 0 w 121"/>
                <a:gd name="T3" fmla="*/ 60 h 121"/>
                <a:gd name="T4" fmla="*/ 60 w 121"/>
                <a:gd name="T5" fmla="*/ 121 h 121"/>
                <a:gd name="T6" fmla="*/ 121 w 121"/>
                <a:gd name="T7" fmla="*/ 60 h 121"/>
                <a:gd name="T8" fmla="*/ 60 w 121"/>
                <a:gd name="T9" fmla="*/ 0 h 121"/>
                <a:gd name="T10" fmla="*/ 60 w 121"/>
                <a:gd name="T11" fmla="*/ 100 h 121"/>
                <a:gd name="T12" fmla="*/ 21 w 121"/>
                <a:gd name="T13" fmla="*/ 60 h 121"/>
                <a:gd name="T14" fmla="*/ 60 w 121"/>
                <a:gd name="T15" fmla="*/ 21 h 121"/>
                <a:gd name="T16" fmla="*/ 99 w 121"/>
                <a:gd name="T17" fmla="*/ 60 h 121"/>
                <a:gd name="T18" fmla="*/ 60 w 121"/>
                <a:gd name="T19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1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4"/>
                    <a:pt x="27" y="121"/>
                    <a:pt x="60" y="121"/>
                  </a:cubicBezTo>
                  <a:cubicBezTo>
                    <a:pt x="93" y="121"/>
                    <a:pt x="121" y="94"/>
                    <a:pt x="121" y="60"/>
                  </a:cubicBezTo>
                  <a:cubicBezTo>
                    <a:pt x="121" y="27"/>
                    <a:pt x="93" y="0"/>
                    <a:pt x="60" y="0"/>
                  </a:cubicBezTo>
                  <a:close/>
                  <a:moveTo>
                    <a:pt x="60" y="100"/>
                  </a:moveTo>
                  <a:cubicBezTo>
                    <a:pt x="38" y="100"/>
                    <a:pt x="21" y="82"/>
                    <a:pt x="21" y="60"/>
                  </a:cubicBezTo>
                  <a:cubicBezTo>
                    <a:pt x="21" y="39"/>
                    <a:pt x="38" y="21"/>
                    <a:pt x="60" y="21"/>
                  </a:cubicBezTo>
                  <a:cubicBezTo>
                    <a:pt x="82" y="21"/>
                    <a:pt x="99" y="39"/>
                    <a:pt x="99" y="60"/>
                  </a:cubicBezTo>
                  <a:cubicBezTo>
                    <a:pt x="99" y="82"/>
                    <a:pt x="82" y="100"/>
                    <a:pt x="60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FFD45FBA-4398-79B7-9750-F4E9EA3E96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031" y="4129434"/>
              <a:ext cx="885668" cy="880851"/>
            </a:xfrm>
            <a:custGeom>
              <a:avLst/>
              <a:gdLst>
                <a:gd name="T0" fmla="*/ 544 w 544"/>
                <a:gd name="T1" fmla="*/ 256 h 541"/>
                <a:gd name="T2" fmla="*/ 485 w 544"/>
                <a:gd name="T3" fmla="*/ 185 h 541"/>
                <a:gd name="T4" fmla="*/ 452 w 544"/>
                <a:gd name="T5" fmla="*/ 128 h 541"/>
                <a:gd name="T6" fmla="*/ 421 w 544"/>
                <a:gd name="T7" fmla="*/ 42 h 541"/>
                <a:gd name="T8" fmla="*/ 396 w 544"/>
                <a:gd name="T9" fmla="*/ 27 h 541"/>
                <a:gd name="T10" fmla="*/ 305 w 544"/>
                <a:gd name="T11" fmla="*/ 43 h 541"/>
                <a:gd name="T12" fmla="*/ 239 w 544"/>
                <a:gd name="T13" fmla="*/ 43 h 541"/>
                <a:gd name="T14" fmla="*/ 148 w 544"/>
                <a:gd name="T15" fmla="*/ 27 h 541"/>
                <a:gd name="T16" fmla="*/ 123 w 544"/>
                <a:gd name="T17" fmla="*/ 42 h 541"/>
                <a:gd name="T18" fmla="*/ 92 w 544"/>
                <a:gd name="T19" fmla="*/ 128 h 541"/>
                <a:gd name="T20" fmla="*/ 59 w 544"/>
                <a:gd name="T21" fmla="*/ 185 h 541"/>
                <a:gd name="T22" fmla="*/ 0 w 544"/>
                <a:gd name="T23" fmla="*/ 256 h 541"/>
                <a:gd name="T24" fmla="*/ 43 w 544"/>
                <a:gd name="T25" fmla="*/ 277 h 541"/>
                <a:gd name="T26" fmla="*/ 54 w 544"/>
                <a:gd name="T27" fmla="*/ 342 h 541"/>
                <a:gd name="T28" fmla="*/ 54 w 544"/>
                <a:gd name="T29" fmla="*/ 434 h 541"/>
                <a:gd name="T30" fmla="*/ 73 w 544"/>
                <a:gd name="T31" fmla="*/ 456 h 541"/>
                <a:gd name="T32" fmla="*/ 163 w 544"/>
                <a:gd name="T33" fmla="*/ 472 h 541"/>
                <a:gd name="T34" fmla="*/ 226 w 544"/>
                <a:gd name="T35" fmla="*/ 495 h 541"/>
                <a:gd name="T36" fmla="*/ 305 w 544"/>
                <a:gd name="T37" fmla="*/ 541 h 541"/>
                <a:gd name="T38" fmla="*/ 334 w 544"/>
                <a:gd name="T39" fmla="*/ 536 h 541"/>
                <a:gd name="T40" fmla="*/ 393 w 544"/>
                <a:gd name="T41" fmla="*/ 465 h 541"/>
                <a:gd name="T42" fmla="*/ 443 w 544"/>
                <a:gd name="T43" fmla="*/ 423 h 541"/>
                <a:gd name="T44" fmla="*/ 523 w 544"/>
                <a:gd name="T45" fmla="*/ 377 h 541"/>
                <a:gd name="T46" fmla="*/ 533 w 544"/>
                <a:gd name="T47" fmla="*/ 350 h 541"/>
                <a:gd name="T48" fmla="*/ 501 w 544"/>
                <a:gd name="T49" fmla="*/ 270 h 541"/>
                <a:gd name="T50" fmla="*/ 466 w 544"/>
                <a:gd name="T51" fmla="*/ 281 h 541"/>
                <a:gd name="T52" fmla="*/ 424 w 544"/>
                <a:gd name="T53" fmla="*/ 331 h 541"/>
                <a:gd name="T54" fmla="*/ 400 w 544"/>
                <a:gd name="T55" fmla="*/ 371 h 541"/>
                <a:gd name="T56" fmla="*/ 378 w 544"/>
                <a:gd name="T57" fmla="*/ 433 h 541"/>
                <a:gd name="T58" fmla="*/ 360 w 544"/>
                <a:gd name="T59" fmla="*/ 443 h 541"/>
                <a:gd name="T60" fmla="*/ 296 w 544"/>
                <a:gd name="T61" fmla="*/ 432 h 541"/>
                <a:gd name="T62" fmla="*/ 249 w 544"/>
                <a:gd name="T63" fmla="*/ 432 h 541"/>
                <a:gd name="T64" fmla="*/ 184 w 544"/>
                <a:gd name="T65" fmla="*/ 443 h 541"/>
                <a:gd name="T66" fmla="*/ 166 w 544"/>
                <a:gd name="T67" fmla="*/ 433 h 541"/>
                <a:gd name="T68" fmla="*/ 144 w 544"/>
                <a:gd name="T69" fmla="*/ 371 h 541"/>
                <a:gd name="T70" fmla="*/ 120 w 544"/>
                <a:gd name="T71" fmla="*/ 331 h 541"/>
                <a:gd name="T72" fmla="*/ 78 w 544"/>
                <a:gd name="T73" fmla="*/ 281 h 541"/>
                <a:gd name="T74" fmla="*/ 109 w 544"/>
                <a:gd name="T75" fmla="*/ 265 h 541"/>
                <a:gd name="T76" fmla="*/ 117 w 544"/>
                <a:gd name="T77" fmla="*/ 219 h 541"/>
                <a:gd name="T78" fmla="*/ 117 w 544"/>
                <a:gd name="T79" fmla="*/ 154 h 541"/>
                <a:gd name="T80" fmla="*/ 130 w 544"/>
                <a:gd name="T81" fmla="*/ 138 h 541"/>
                <a:gd name="T82" fmla="*/ 195 w 544"/>
                <a:gd name="T83" fmla="*/ 127 h 541"/>
                <a:gd name="T84" fmla="*/ 239 w 544"/>
                <a:gd name="T85" fmla="*/ 110 h 541"/>
                <a:gd name="T86" fmla="*/ 296 w 544"/>
                <a:gd name="T87" fmla="*/ 78 h 541"/>
                <a:gd name="T88" fmla="*/ 316 w 544"/>
                <a:gd name="T89" fmla="*/ 81 h 541"/>
                <a:gd name="T90" fmla="*/ 358 w 544"/>
                <a:gd name="T91" fmla="*/ 131 h 541"/>
                <a:gd name="T92" fmla="*/ 394 w 544"/>
                <a:gd name="T93" fmla="*/ 162 h 541"/>
                <a:gd name="T94" fmla="*/ 451 w 544"/>
                <a:gd name="T95" fmla="*/ 194 h 541"/>
                <a:gd name="T96" fmla="*/ 458 w 544"/>
                <a:gd name="T97" fmla="*/ 214 h 541"/>
                <a:gd name="T98" fmla="*/ 435 w 544"/>
                <a:gd name="T99" fmla="*/ 27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4" h="541">
                  <a:moveTo>
                    <a:pt x="501" y="270"/>
                  </a:moveTo>
                  <a:cubicBezTo>
                    <a:pt x="501" y="268"/>
                    <a:pt x="501" y="266"/>
                    <a:pt x="501" y="263"/>
                  </a:cubicBezTo>
                  <a:cubicBezTo>
                    <a:pt x="544" y="256"/>
                    <a:pt x="544" y="256"/>
                    <a:pt x="544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8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6" y="121"/>
                    <a:pt x="443" y="118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1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4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4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8" y="27"/>
                    <a:pt x="148" y="27"/>
                    <a:pt x="148" y="27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59" y="71"/>
                    <a:pt x="155" y="73"/>
                    <a:pt x="152" y="75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2" y="128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21" y="164"/>
                    <a:pt x="21" y="164"/>
                    <a:pt x="21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7" y="190"/>
                    <a:pt x="56" y="194"/>
                    <a:pt x="54" y="198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3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1" y="350"/>
                    <a:pt x="11" y="350"/>
                    <a:pt x="11" y="350"/>
                  </a:cubicBezTo>
                  <a:cubicBezTo>
                    <a:pt x="54" y="342"/>
                    <a:pt x="54" y="342"/>
                    <a:pt x="54" y="342"/>
                  </a:cubicBezTo>
                  <a:cubicBezTo>
                    <a:pt x="56" y="347"/>
                    <a:pt x="57" y="351"/>
                    <a:pt x="59" y="355"/>
                  </a:cubicBezTo>
                  <a:cubicBezTo>
                    <a:pt x="21" y="377"/>
                    <a:pt x="21" y="377"/>
                    <a:pt x="21" y="377"/>
                  </a:cubicBezTo>
                  <a:cubicBezTo>
                    <a:pt x="54" y="434"/>
                    <a:pt x="54" y="434"/>
                    <a:pt x="54" y="434"/>
                  </a:cubicBezTo>
                  <a:cubicBezTo>
                    <a:pt x="92" y="412"/>
                    <a:pt x="92" y="412"/>
                    <a:pt x="92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3" y="499"/>
                    <a:pt x="123" y="499"/>
                    <a:pt x="123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5" y="468"/>
                    <a:pt x="159" y="470"/>
                    <a:pt x="163" y="472"/>
                  </a:cubicBezTo>
                  <a:cubicBezTo>
                    <a:pt x="148" y="513"/>
                    <a:pt x="148" y="513"/>
                    <a:pt x="148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4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4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1" y="456"/>
                    <a:pt x="471" y="456"/>
                    <a:pt x="471" y="456"/>
                  </a:cubicBezTo>
                  <a:cubicBezTo>
                    <a:pt x="443" y="423"/>
                    <a:pt x="443" y="423"/>
                    <a:pt x="443" y="423"/>
                  </a:cubicBezTo>
                  <a:cubicBezTo>
                    <a:pt x="446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8" y="347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4" y="285"/>
                    <a:pt x="544" y="285"/>
                    <a:pt x="544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1" y="275"/>
                    <a:pt x="501" y="273"/>
                    <a:pt x="501" y="270"/>
                  </a:cubicBezTo>
                  <a:close/>
                  <a:moveTo>
                    <a:pt x="435" y="270"/>
                  </a:moveTo>
                  <a:cubicBezTo>
                    <a:pt x="435" y="272"/>
                    <a:pt x="435" y="274"/>
                    <a:pt x="435" y="275"/>
                  </a:cubicBezTo>
                  <a:cubicBezTo>
                    <a:pt x="466" y="281"/>
                    <a:pt x="466" y="281"/>
                    <a:pt x="466" y="281"/>
                  </a:cubicBezTo>
                  <a:cubicBezTo>
                    <a:pt x="458" y="327"/>
                    <a:pt x="458" y="327"/>
                    <a:pt x="458" y="327"/>
                  </a:cubicBezTo>
                  <a:cubicBezTo>
                    <a:pt x="427" y="321"/>
                    <a:pt x="427" y="321"/>
                    <a:pt x="427" y="321"/>
                  </a:cubicBezTo>
                  <a:cubicBezTo>
                    <a:pt x="426" y="325"/>
                    <a:pt x="425" y="328"/>
                    <a:pt x="424" y="331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27" y="387"/>
                    <a:pt x="427" y="387"/>
                    <a:pt x="427" y="387"/>
                  </a:cubicBezTo>
                  <a:cubicBezTo>
                    <a:pt x="400" y="371"/>
                    <a:pt x="400" y="371"/>
                    <a:pt x="400" y="371"/>
                  </a:cubicBezTo>
                  <a:cubicBezTo>
                    <a:pt x="398" y="374"/>
                    <a:pt x="396" y="376"/>
                    <a:pt x="394" y="379"/>
                  </a:cubicBezTo>
                  <a:cubicBezTo>
                    <a:pt x="414" y="403"/>
                    <a:pt x="414" y="403"/>
                    <a:pt x="414" y="403"/>
                  </a:cubicBezTo>
                  <a:cubicBezTo>
                    <a:pt x="378" y="433"/>
                    <a:pt x="378" y="433"/>
                    <a:pt x="378" y="433"/>
                  </a:cubicBezTo>
                  <a:cubicBezTo>
                    <a:pt x="358" y="409"/>
                    <a:pt x="358" y="409"/>
                    <a:pt x="358" y="409"/>
                  </a:cubicBezTo>
                  <a:cubicBezTo>
                    <a:pt x="355" y="411"/>
                    <a:pt x="352" y="412"/>
                    <a:pt x="349" y="414"/>
                  </a:cubicBezTo>
                  <a:cubicBezTo>
                    <a:pt x="360" y="443"/>
                    <a:pt x="360" y="443"/>
                    <a:pt x="360" y="443"/>
                  </a:cubicBezTo>
                  <a:cubicBezTo>
                    <a:pt x="316" y="459"/>
                    <a:pt x="316" y="459"/>
                    <a:pt x="316" y="459"/>
                  </a:cubicBezTo>
                  <a:cubicBezTo>
                    <a:pt x="305" y="430"/>
                    <a:pt x="305" y="430"/>
                    <a:pt x="305" y="430"/>
                  </a:cubicBezTo>
                  <a:cubicBezTo>
                    <a:pt x="302" y="431"/>
                    <a:pt x="299" y="431"/>
                    <a:pt x="296" y="432"/>
                  </a:cubicBezTo>
                  <a:cubicBezTo>
                    <a:pt x="296" y="463"/>
                    <a:pt x="296" y="463"/>
                    <a:pt x="296" y="463"/>
                  </a:cubicBezTo>
                  <a:cubicBezTo>
                    <a:pt x="249" y="463"/>
                    <a:pt x="249" y="463"/>
                    <a:pt x="249" y="463"/>
                  </a:cubicBezTo>
                  <a:cubicBezTo>
                    <a:pt x="249" y="432"/>
                    <a:pt x="249" y="432"/>
                    <a:pt x="249" y="432"/>
                  </a:cubicBezTo>
                  <a:cubicBezTo>
                    <a:pt x="245" y="431"/>
                    <a:pt x="242" y="431"/>
                    <a:pt x="239" y="430"/>
                  </a:cubicBezTo>
                  <a:cubicBezTo>
                    <a:pt x="228" y="459"/>
                    <a:pt x="228" y="459"/>
                    <a:pt x="228" y="459"/>
                  </a:cubicBezTo>
                  <a:cubicBezTo>
                    <a:pt x="184" y="443"/>
                    <a:pt x="184" y="443"/>
                    <a:pt x="184" y="443"/>
                  </a:cubicBezTo>
                  <a:cubicBezTo>
                    <a:pt x="195" y="414"/>
                    <a:pt x="195" y="414"/>
                    <a:pt x="195" y="414"/>
                  </a:cubicBezTo>
                  <a:cubicBezTo>
                    <a:pt x="192" y="412"/>
                    <a:pt x="189" y="411"/>
                    <a:pt x="186" y="409"/>
                  </a:cubicBezTo>
                  <a:cubicBezTo>
                    <a:pt x="166" y="433"/>
                    <a:pt x="166" y="433"/>
                    <a:pt x="166" y="433"/>
                  </a:cubicBezTo>
                  <a:cubicBezTo>
                    <a:pt x="130" y="403"/>
                    <a:pt x="130" y="403"/>
                    <a:pt x="130" y="403"/>
                  </a:cubicBezTo>
                  <a:cubicBezTo>
                    <a:pt x="150" y="379"/>
                    <a:pt x="150" y="379"/>
                    <a:pt x="150" y="379"/>
                  </a:cubicBezTo>
                  <a:cubicBezTo>
                    <a:pt x="148" y="376"/>
                    <a:pt x="146" y="374"/>
                    <a:pt x="144" y="371"/>
                  </a:cubicBezTo>
                  <a:cubicBezTo>
                    <a:pt x="117" y="387"/>
                    <a:pt x="117" y="387"/>
                    <a:pt x="117" y="387"/>
                  </a:cubicBezTo>
                  <a:cubicBezTo>
                    <a:pt x="94" y="346"/>
                    <a:pt x="94" y="346"/>
                    <a:pt x="94" y="346"/>
                  </a:cubicBezTo>
                  <a:cubicBezTo>
                    <a:pt x="120" y="331"/>
                    <a:pt x="120" y="331"/>
                    <a:pt x="120" y="331"/>
                  </a:cubicBezTo>
                  <a:cubicBezTo>
                    <a:pt x="119" y="328"/>
                    <a:pt x="118" y="325"/>
                    <a:pt x="117" y="321"/>
                  </a:cubicBezTo>
                  <a:cubicBezTo>
                    <a:pt x="86" y="327"/>
                    <a:pt x="86" y="327"/>
                    <a:pt x="86" y="327"/>
                  </a:cubicBezTo>
                  <a:cubicBezTo>
                    <a:pt x="78" y="281"/>
                    <a:pt x="78" y="281"/>
                    <a:pt x="78" y="28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9" y="274"/>
                    <a:pt x="109" y="272"/>
                    <a:pt x="109" y="270"/>
                  </a:cubicBezTo>
                  <a:cubicBezTo>
                    <a:pt x="109" y="269"/>
                    <a:pt x="109" y="267"/>
                    <a:pt x="109" y="265"/>
                  </a:cubicBezTo>
                  <a:cubicBezTo>
                    <a:pt x="78" y="260"/>
                    <a:pt x="78" y="260"/>
                    <a:pt x="78" y="260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17" y="219"/>
                    <a:pt x="117" y="219"/>
                    <a:pt x="117" y="219"/>
                  </a:cubicBezTo>
                  <a:cubicBezTo>
                    <a:pt x="118" y="216"/>
                    <a:pt x="119" y="213"/>
                    <a:pt x="120" y="210"/>
                  </a:cubicBezTo>
                  <a:cubicBezTo>
                    <a:pt x="94" y="194"/>
                    <a:pt x="94" y="194"/>
                    <a:pt x="94" y="194"/>
                  </a:cubicBezTo>
                  <a:cubicBezTo>
                    <a:pt x="117" y="154"/>
                    <a:pt x="117" y="154"/>
                    <a:pt x="117" y="154"/>
                  </a:cubicBezTo>
                  <a:cubicBezTo>
                    <a:pt x="144" y="169"/>
                    <a:pt x="144" y="169"/>
                    <a:pt x="144" y="169"/>
                  </a:cubicBezTo>
                  <a:cubicBezTo>
                    <a:pt x="146" y="167"/>
                    <a:pt x="148" y="164"/>
                    <a:pt x="150" y="162"/>
                  </a:cubicBezTo>
                  <a:cubicBezTo>
                    <a:pt x="130" y="138"/>
                    <a:pt x="130" y="138"/>
                    <a:pt x="130" y="138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9" y="130"/>
                    <a:pt x="192" y="128"/>
                    <a:pt x="195" y="127"/>
                  </a:cubicBezTo>
                  <a:cubicBezTo>
                    <a:pt x="184" y="97"/>
                    <a:pt x="184" y="97"/>
                    <a:pt x="184" y="97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239" y="110"/>
                    <a:pt x="239" y="110"/>
                    <a:pt x="239" y="110"/>
                  </a:cubicBezTo>
                  <a:cubicBezTo>
                    <a:pt x="242" y="110"/>
                    <a:pt x="245" y="109"/>
                    <a:pt x="249" y="10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96" y="78"/>
                    <a:pt x="296" y="78"/>
                    <a:pt x="296" y="78"/>
                  </a:cubicBezTo>
                  <a:cubicBezTo>
                    <a:pt x="296" y="109"/>
                    <a:pt x="296" y="109"/>
                    <a:pt x="296" y="109"/>
                  </a:cubicBezTo>
                  <a:cubicBezTo>
                    <a:pt x="299" y="109"/>
                    <a:pt x="302" y="110"/>
                    <a:pt x="305" y="110"/>
                  </a:cubicBezTo>
                  <a:cubicBezTo>
                    <a:pt x="316" y="81"/>
                    <a:pt x="316" y="81"/>
                    <a:pt x="316" y="81"/>
                  </a:cubicBezTo>
                  <a:cubicBezTo>
                    <a:pt x="360" y="97"/>
                    <a:pt x="360" y="97"/>
                    <a:pt x="360" y="97"/>
                  </a:cubicBezTo>
                  <a:cubicBezTo>
                    <a:pt x="349" y="127"/>
                    <a:pt x="349" y="127"/>
                    <a:pt x="349" y="127"/>
                  </a:cubicBezTo>
                  <a:cubicBezTo>
                    <a:pt x="352" y="128"/>
                    <a:pt x="355" y="130"/>
                    <a:pt x="358" y="131"/>
                  </a:cubicBezTo>
                  <a:cubicBezTo>
                    <a:pt x="378" y="108"/>
                    <a:pt x="378" y="108"/>
                    <a:pt x="378" y="108"/>
                  </a:cubicBezTo>
                  <a:cubicBezTo>
                    <a:pt x="414" y="138"/>
                    <a:pt x="414" y="138"/>
                    <a:pt x="414" y="138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6" y="164"/>
                    <a:pt x="398" y="167"/>
                    <a:pt x="400" y="169"/>
                  </a:cubicBezTo>
                  <a:cubicBezTo>
                    <a:pt x="427" y="154"/>
                    <a:pt x="427" y="154"/>
                    <a:pt x="427" y="154"/>
                  </a:cubicBezTo>
                  <a:cubicBezTo>
                    <a:pt x="451" y="194"/>
                    <a:pt x="451" y="194"/>
                    <a:pt x="451" y="194"/>
                  </a:cubicBezTo>
                  <a:cubicBezTo>
                    <a:pt x="424" y="210"/>
                    <a:pt x="424" y="210"/>
                    <a:pt x="424" y="210"/>
                  </a:cubicBezTo>
                  <a:cubicBezTo>
                    <a:pt x="425" y="213"/>
                    <a:pt x="426" y="216"/>
                    <a:pt x="427" y="219"/>
                  </a:cubicBezTo>
                  <a:cubicBezTo>
                    <a:pt x="458" y="214"/>
                    <a:pt x="458" y="214"/>
                    <a:pt x="458" y="214"/>
                  </a:cubicBezTo>
                  <a:cubicBezTo>
                    <a:pt x="466" y="260"/>
                    <a:pt x="466" y="260"/>
                    <a:pt x="466" y="260"/>
                  </a:cubicBezTo>
                  <a:cubicBezTo>
                    <a:pt x="435" y="265"/>
                    <a:pt x="435" y="265"/>
                    <a:pt x="435" y="265"/>
                  </a:cubicBezTo>
                  <a:cubicBezTo>
                    <a:pt x="435" y="267"/>
                    <a:pt x="435" y="269"/>
                    <a:pt x="435" y="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Open Sans"/>
              </a:endParaRPr>
            </a:p>
          </p:txBody>
        </p:sp>
      </p:grpSp>
      <p:cxnSp>
        <p:nvCxnSpPr>
          <p:cNvPr id="27" name="肘形连接符 59">
            <a:extLst>
              <a:ext uri="{FF2B5EF4-FFF2-40B4-BE49-F238E27FC236}">
                <a16:creationId xmlns:a16="http://schemas.microsoft.com/office/drawing/2014/main" id="{9FCB265A-4B2F-AED7-2877-D9A89C65E235}"/>
              </a:ext>
            </a:extLst>
          </p:cNvPr>
          <p:cNvCxnSpPr>
            <a:cxnSpLocks/>
          </p:cNvCxnSpPr>
          <p:nvPr/>
        </p:nvCxnSpPr>
        <p:spPr>
          <a:xfrm rot="10800000">
            <a:off x="3830960" y="2317086"/>
            <a:ext cx="864000" cy="1243934"/>
          </a:xfrm>
          <a:prstGeom prst="bentConnector3">
            <a:avLst/>
          </a:prstGeom>
          <a:noFill/>
          <a:ln w="19050" cap="flat" cmpd="sng" algn="ctr">
            <a:solidFill>
              <a:srgbClr val="00257C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28" name="肘形连接符 61">
            <a:extLst>
              <a:ext uri="{FF2B5EF4-FFF2-40B4-BE49-F238E27FC236}">
                <a16:creationId xmlns:a16="http://schemas.microsoft.com/office/drawing/2014/main" id="{5BE3BA2F-2CC2-3691-7F56-8F67AF69DCB8}"/>
              </a:ext>
            </a:extLst>
          </p:cNvPr>
          <p:cNvCxnSpPr>
            <a:cxnSpLocks/>
          </p:cNvCxnSpPr>
          <p:nvPr/>
        </p:nvCxnSpPr>
        <p:spPr>
          <a:xfrm flipV="1">
            <a:off x="7208520" y="2317086"/>
            <a:ext cx="1043305" cy="44369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C620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29" name="肘形连接符 63">
            <a:extLst>
              <a:ext uri="{FF2B5EF4-FFF2-40B4-BE49-F238E27FC236}">
                <a16:creationId xmlns:a16="http://schemas.microsoft.com/office/drawing/2014/main" id="{29C6B83F-44A4-95A1-C831-7E6AAAB7FCB3}"/>
              </a:ext>
            </a:extLst>
          </p:cNvPr>
          <p:cNvCxnSpPr>
            <a:cxnSpLocks/>
          </p:cNvCxnSpPr>
          <p:nvPr/>
        </p:nvCxnSpPr>
        <p:spPr>
          <a:xfrm flipV="1">
            <a:off x="7308333" y="4572000"/>
            <a:ext cx="943492" cy="39572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0257C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30" name="肘形连接符 61">
            <a:extLst>
              <a:ext uri="{FF2B5EF4-FFF2-40B4-BE49-F238E27FC236}">
                <a16:creationId xmlns:a16="http://schemas.microsoft.com/office/drawing/2014/main" id="{8738BB05-2084-1908-334C-172A79A1275D}"/>
              </a:ext>
            </a:extLst>
          </p:cNvPr>
          <p:cNvCxnSpPr>
            <a:cxnSpLocks/>
          </p:cNvCxnSpPr>
          <p:nvPr/>
        </p:nvCxnSpPr>
        <p:spPr>
          <a:xfrm>
            <a:off x="3904202" y="4572000"/>
            <a:ext cx="432000" cy="634024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C620"/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31" name="文本框 58">
            <a:extLst>
              <a:ext uri="{FF2B5EF4-FFF2-40B4-BE49-F238E27FC236}">
                <a16:creationId xmlns:a16="http://schemas.microsoft.com/office/drawing/2014/main" id="{7D10750E-56AF-D482-EC14-321112F83C52}"/>
              </a:ext>
            </a:extLst>
          </p:cNvPr>
          <p:cNvSpPr txBox="1"/>
          <p:nvPr/>
        </p:nvSpPr>
        <p:spPr>
          <a:xfrm>
            <a:off x="1002566" y="4453973"/>
            <a:ext cx="2858400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de-DE" sz="1400" b="1" kern="0" dirty="0">
                <a:solidFill>
                  <a:srgbClr val="FFC620"/>
                </a:solidFill>
                <a:latin typeface="Calibri" panose="020F0502020204030204"/>
              </a:rPr>
              <a:t>Gegenseitige Unterstützung beim Eintreten von Projektrisiken/-problemen, welche große Verzögerungen auslösen könnten</a:t>
            </a:r>
          </a:p>
        </p:txBody>
      </p:sp>
      <p:sp>
        <p:nvSpPr>
          <p:cNvPr id="32" name="文本框 58">
            <a:extLst>
              <a:ext uri="{FF2B5EF4-FFF2-40B4-BE49-F238E27FC236}">
                <a16:creationId xmlns:a16="http://schemas.microsoft.com/office/drawing/2014/main" id="{9447D422-27DE-85F3-863E-B8ED63F1779E}"/>
              </a:ext>
            </a:extLst>
          </p:cNvPr>
          <p:cNvSpPr txBox="1"/>
          <p:nvPr/>
        </p:nvSpPr>
        <p:spPr>
          <a:xfrm>
            <a:off x="8385817" y="4453386"/>
            <a:ext cx="2858446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de-DE" sz="1400" b="1" kern="0" dirty="0">
                <a:solidFill>
                  <a:srgbClr val="00257C"/>
                </a:solidFill>
                <a:latin typeface="Calibri" panose="020F0502020204030204"/>
              </a:rPr>
              <a:t>Verlässlichkeit und Engagement aller Gruppenmitglieder, was wesentlich zur fristgerechten Einhaltung der Meilensteine als auch der Fertig-stellung beitrug</a:t>
            </a:r>
          </a:p>
        </p:txBody>
      </p:sp>
      <p:sp>
        <p:nvSpPr>
          <p:cNvPr id="33" name="文本框 58">
            <a:extLst>
              <a:ext uri="{FF2B5EF4-FFF2-40B4-BE49-F238E27FC236}">
                <a16:creationId xmlns:a16="http://schemas.microsoft.com/office/drawing/2014/main" id="{950D51FB-3B91-3DDA-B5E3-1C4981F19D05}"/>
              </a:ext>
            </a:extLst>
          </p:cNvPr>
          <p:cNvSpPr txBox="1"/>
          <p:nvPr/>
        </p:nvSpPr>
        <p:spPr>
          <a:xfrm>
            <a:off x="8385863" y="2202474"/>
            <a:ext cx="2858400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de-DE" sz="1400" b="1" kern="0" dirty="0">
                <a:solidFill>
                  <a:srgbClr val="FFC620"/>
                </a:solidFill>
                <a:latin typeface="Calibri" panose="020F0502020204030204"/>
              </a:rPr>
              <a:t>Regelmäßige Abstimmungen im Team, um Fortschritte, Probleme und verbleibende </a:t>
            </a:r>
            <a:r>
              <a:rPr lang="de-DE" sz="1400" b="1" kern="0" dirty="0" err="1">
                <a:solidFill>
                  <a:srgbClr val="FFC620"/>
                </a:solidFill>
                <a:latin typeface="Calibri" panose="020F0502020204030204"/>
              </a:rPr>
              <a:t>To-Do´s</a:t>
            </a:r>
            <a:r>
              <a:rPr lang="de-DE" sz="1400" b="1" kern="0" dirty="0">
                <a:solidFill>
                  <a:srgbClr val="FFC620"/>
                </a:solidFill>
                <a:latin typeface="Calibri" panose="020F0502020204030204"/>
              </a:rPr>
              <a:t> frühzeitig kommunizieren zu können</a:t>
            </a:r>
          </a:p>
        </p:txBody>
      </p:sp>
      <p:sp>
        <p:nvSpPr>
          <p:cNvPr id="34" name="文本框 58">
            <a:extLst>
              <a:ext uri="{FF2B5EF4-FFF2-40B4-BE49-F238E27FC236}">
                <a16:creationId xmlns:a16="http://schemas.microsoft.com/office/drawing/2014/main" id="{5B0B6EB1-445F-E200-E83D-46C709638B57}"/>
              </a:ext>
            </a:extLst>
          </p:cNvPr>
          <p:cNvSpPr txBox="1"/>
          <p:nvPr/>
        </p:nvSpPr>
        <p:spPr>
          <a:xfrm>
            <a:off x="1002566" y="2202474"/>
            <a:ext cx="2858400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de-DE" sz="1400" b="1" kern="0" dirty="0">
                <a:solidFill>
                  <a:srgbClr val="00257C"/>
                </a:solidFill>
                <a:latin typeface="Calibri" panose="020F0502020204030204"/>
              </a:rPr>
              <a:t>Klare und frühe Aufgabenverteilung auf Basis individueller Stärken und Schwächen</a:t>
            </a:r>
          </a:p>
        </p:txBody>
      </p:sp>
    </p:spTree>
    <p:extLst>
      <p:ext uri="{BB962C8B-B14F-4D97-AF65-F5344CB8AC3E}">
        <p14:creationId xmlns:p14="http://schemas.microsoft.com/office/powerpoint/2010/main" val="3823556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587B5E-2B9E-7D90-58FA-34A9C2CD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405E36-F30B-E5E5-8A7B-57BD0F38D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1475"/>
            <a:ext cx="10515600" cy="1325563"/>
          </a:xfrm>
        </p:spPr>
        <p:txBody>
          <a:bodyPr>
            <a:normAutofit/>
          </a:bodyPr>
          <a:lstStyle/>
          <a:p>
            <a:r>
              <a:rPr lang="de-DE" cap="small" dirty="0" err="1"/>
              <a:t>Lessons</a:t>
            </a:r>
            <a:r>
              <a:rPr lang="de-DE" cap="small" dirty="0"/>
              <a:t> </a:t>
            </a:r>
            <a:r>
              <a:rPr lang="de-DE" cap="small" dirty="0" err="1"/>
              <a:t>Learned</a:t>
            </a:r>
            <a:r>
              <a:rPr lang="de-DE" cap="small" dirty="0"/>
              <a:t>: Erkenntnisse, die über das Projekt hinausge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BA43B7-8F80-C9E8-F764-36009632D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46ABB2-B701-A228-2F0E-449074C35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8AEDC3-DF69-823D-1B7E-BB39A33F3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5</a:t>
            </a:r>
          </a:p>
        </p:txBody>
      </p:sp>
      <p:sp>
        <p:nvSpPr>
          <p:cNvPr id="3" name="Freeform 16">
            <a:extLst>
              <a:ext uri="{FF2B5EF4-FFF2-40B4-BE49-F238E27FC236}">
                <a16:creationId xmlns:a16="http://schemas.microsoft.com/office/drawing/2014/main" id="{B86C0D38-198A-115D-CF22-F00462D21CB5}"/>
              </a:ext>
            </a:extLst>
          </p:cNvPr>
          <p:cNvSpPr>
            <a:spLocks/>
          </p:cNvSpPr>
          <p:nvPr/>
        </p:nvSpPr>
        <p:spPr bwMode="auto">
          <a:xfrm>
            <a:off x="4558615" y="2351453"/>
            <a:ext cx="3059980" cy="3061308"/>
          </a:xfrm>
          <a:prstGeom prst="arc">
            <a:avLst>
              <a:gd name="adj1" fmla="val 8757105"/>
              <a:gd name="adj2" fmla="val 6748160"/>
            </a:avLst>
          </a:prstGeom>
          <a:noFill/>
          <a:ln w="19050" cap="rnd">
            <a:solidFill>
              <a:srgbClr val="00257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7" name="文本框 112">
            <a:extLst>
              <a:ext uri="{FF2B5EF4-FFF2-40B4-BE49-F238E27FC236}">
                <a16:creationId xmlns:a16="http://schemas.microsoft.com/office/drawing/2014/main" id="{27C92BC4-DD48-615A-BC10-1AE4FFEA96A9}"/>
              </a:ext>
            </a:extLst>
          </p:cNvPr>
          <p:cNvSpPr txBox="1"/>
          <p:nvPr/>
        </p:nvSpPr>
        <p:spPr>
          <a:xfrm>
            <a:off x="927099" y="2000250"/>
            <a:ext cx="3126681" cy="14003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de-DE" sz="1300" b="1" dirty="0">
                <a:solidFill>
                  <a:srgbClr val="00257C"/>
                </a:solidFill>
                <a:latin typeface="Calibri"/>
              </a:rPr>
              <a:t>Abstimmungen mit Stakeholdern benötigen den passenden Kommunikationskanal</a:t>
            </a:r>
            <a:endParaRPr lang="de-DE" sz="1300" dirty="0">
              <a:solidFill>
                <a:srgbClr val="00257C"/>
              </a:solidFill>
              <a:latin typeface="Calibri"/>
            </a:endParaRPr>
          </a:p>
          <a:p>
            <a:pPr marL="268288" indent="-177800">
              <a:buSzPct val="100000"/>
              <a:buFont typeface="Wingdings" panose="05000000000000000000" pitchFamily="2" charset="2"/>
              <a:buChar char="ü"/>
            </a:pPr>
            <a:r>
              <a:rPr lang="de-DE" altLang="zh-CN" sz="1200" dirty="0">
                <a:solidFill>
                  <a:prstClr val="black"/>
                </a:solidFill>
                <a:latin typeface="Calibri"/>
              </a:rPr>
              <a:t>Gerade bei erklärungsbedürftigen Inhalten oder Rückfragen zeigte sich, dass E-Mails nicht zwingend ausreichend sind und persönliche oder digitale Meetings oftmals eine effektivere Herangehensweise darstellen.</a:t>
            </a: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文本框 113">
            <a:extLst>
              <a:ext uri="{FF2B5EF4-FFF2-40B4-BE49-F238E27FC236}">
                <a16:creationId xmlns:a16="http://schemas.microsoft.com/office/drawing/2014/main" id="{E1796E34-F47A-2520-B585-66B623783947}"/>
              </a:ext>
            </a:extLst>
          </p:cNvPr>
          <p:cNvSpPr txBox="1"/>
          <p:nvPr/>
        </p:nvSpPr>
        <p:spPr>
          <a:xfrm>
            <a:off x="927098" y="4846648"/>
            <a:ext cx="3111092" cy="15388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de-DE" altLang="zh-CN" sz="1300" b="1" dirty="0">
                <a:solidFill>
                  <a:srgbClr val="FFC620"/>
                </a:solidFill>
                <a:latin typeface="Calibri"/>
              </a:rPr>
              <a:t>Vollständiges Abschließen der Arbeiten spart Zeit</a:t>
            </a:r>
          </a:p>
          <a:p>
            <a:pPr marL="285750" indent="-285750">
              <a:spcAft>
                <a:spcPts val="600"/>
              </a:spcAft>
              <a:buSzPct val="100000"/>
              <a:buFont typeface="Wingdings" panose="05000000000000000000" pitchFamily="2" charset="2"/>
              <a:buChar char="ü"/>
            </a:pPr>
            <a:r>
              <a:rPr lang="de-DE" altLang="zh-CN" sz="1300" dirty="0">
                <a:latin typeface="Calibri"/>
              </a:rPr>
              <a:t>Häufig wurden Arbeiten bei den Datenanalysen nicht in einem Zug finalisiert, wodurch zusätzlicher Rechenaufwand angefallen ist</a:t>
            </a:r>
          </a:p>
          <a:p>
            <a:pPr marL="268288" indent="-177800">
              <a:buSzPct val="100000"/>
              <a:buFont typeface="Wingdings" panose="05000000000000000000" pitchFamily="2" charset="2"/>
              <a:buChar char="ü"/>
            </a:pP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文本框 114">
            <a:extLst>
              <a:ext uri="{FF2B5EF4-FFF2-40B4-BE49-F238E27FC236}">
                <a16:creationId xmlns:a16="http://schemas.microsoft.com/office/drawing/2014/main" id="{0D5E9389-EFCC-DBD8-AAA6-5BC40455E80D}"/>
              </a:ext>
            </a:extLst>
          </p:cNvPr>
          <p:cNvSpPr txBox="1"/>
          <p:nvPr/>
        </p:nvSpPr>
        <p:spPr>
          <a:xfrm>
            <a:off x="8364322" y="2000250"/>
            <a:ext cx="2679156" cy="17851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de-DE" sz="1300" b="1" dirty="0">
                <a:solidFill>
                  <a:srgbClr val="A6A6A6"/>
                </a:solidFill>
                <a:latin typeface="Calibri"/>
              </a:rPr>
              <a:t>Kontinuierliches Monitoring kritischer Risiken / Probleme stärkt die Projekt-stabilität</a:t>
            </a:r>
            <a:endParaRPr lang="de-DE" altLang="zh-CN" sz="1300" dirty="0">
              <a:solidFill>
                <a:srgbClr val="A6A6A6"/>
              </a:solidFill>
              <a:latin typeface="Calibri"/>
            </a:endParaRPr>
          </a:p>
          <a:p>
            <a:pPr marL="268288" indent="-177800">
              <a:buSzPct val="100000"/>
              <a:buFont typeface="Wingdings" panose="05000000000000000000" pitchFamily="2" charset="2"/>
              <a:buChar char="ü"/>
            </a:pPr>
            <a:r>
              <a:rPr lang="de-DE" altLang="zh-CN" sz="1200" dirty="0">
                <a:solidFill>
                  <a:prstClr val="black"/>
                </a:solidFill>
                <a:latin typeface="Calibri"/>
              </a:rPr>
              <a:t>Risikobereiche sollten nicht nur identifiziert, sondern über den gesamten Projektverlauf hinweg aktiv beobachtet werden</a:t>
            </a:r>
          </a:p>
          <a:p>
            <a:pPr marL="268288" indent="-177800">
              <a:buSzPct val="100000"/>
              <a:buFont typeface="Wingdings" panose="05000000000000000000" pitchFamily="2" charset="2"/>
              <a:buChar char="ü"/>
            </a:pPr>
            <a:r>
              <a:rPr lang="de-DE" altLang="zh-CN" sz="1200" dirty="0">
                <a:solidFill>
                  <a:prstClr val="black"/>
                </a:solidFill>
                <a:latin typeface="Calibri"/>
              </a:rPr>
              <a:t>Dennoch fortlaufend für bessere Lösung der Alternativen offen sein</a:t>
            </a:r>
          </a:p>
        </p:txBody>
      </p:sp>
      <p:sp>
        <p:nvSpPr>
          <p:cNvPr id="10" name="Freeform 16">
            <a:extLst>
              <a:ext uri="{FF2B5EF4-FFF2-40B4-BE49-F238E27FC236}">
                <a16:creationId xmlns:a16="http://schemas.microsoft.com/office/drawing/2014/main" id="{1707F65F-5F15-6D77-52EC-AA3F28FA5DF6}"/>
              </a:ext>
            </a:extLst>
          </p:cNvPr>
          <p:cNvSpPr>
            <a:spLocks/>
          </p:cNvSpPr>
          <p:nvPr/>
        </p:nvSpPr>
        <p:spPr bwMode="auto">
          <a:xfrm>
            <a:off x="4731835" y="2524749"/>
            <a:ext cx="2713540" cy="2714716"/>
          </a:xfrm>
          <a:prstGeom prst="arc">
            <a:avLst>
              <a:gd name="adj1" fmla="val 13598574"/>
              <a:gd name="adj2" fmla="val 10788521"/>
            </a:avLst>
          </a:prstGeom>
          <a:noFill/>
          <a:ln w="19050" cap="rnd">
            <a:solidFill>
              <a:srgbClr val="A6A6A6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EE4B4E6A-7139-0CB0-67A3-E43E71436D51}"/>
              </a:ext>
            </a:extLst>
          </p:cNvPr>
          <p:cNvSpPr>
            <a:spLocks/>
          </p:cNvSpPr>
          <p:nvPr/>
        </p:nvSpPr>
        <p:spPr bwMode="auto">
          <a:xfrm>
            <a:off x="4919161" y="2712157"/>
            <a:ext cx="2338890" cy="2339902"/>
          </a:xfrm>
          <a:prstGeom prst="arc">
            <a:avLst>
              <a:gd name="adj1" fmla="val 128013"/>
              <a:gd name="adj2" fmla="val 20365905"/>
            </a:avLst>
          </a:prstGeom>
          <a:noFill/>
          <a:ln w="19050" cap="rnd">
            <a:solidFill>
              <a:srgbClr val="FFC62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</a:endParaRPr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73359D3A-4D55-4F24-1F28-5C214DB7A6A0}"/>
              </a:ext>
            </a:extLst>
          </p:cNvPr>
          <p:cNvCxnSpPr/>
          <p:nvPr/>
        </p:nvCxnSpPr>
        <p:spPr>
          <a:xfrm flipH="1" flipV="1">
            <a:off x="4693868" y="2449263"/>
            <a:ext cx="337106" cy="337106"/>
          </a:xfrm>
          <a:prstGeom prst="line">
            <a:avLst/>
          </a:prstGeom>
          <a:noFill/>
          <a:ln w="12700" cap="flat" cmpd="sng" algn="ctr">
            <a:solidFill>
              <a:srgbClr val="00257C"/>
            </a:solidFill>
            <a:prstDash val="solid"/>
            <a:tailEnd type="oval"/>
          </a:ln>
          <a:effectLst/>
        </p:spPr>
      </p:cxnSp>
      <p:cxnSp>
        <p:nvCxnSpPr>
          <p:cNvPr id="13" name="Straight Connector 9">
            <a:extLst>
              <a:ext uri="{FF2B5EF4-FFF2-40B4-BE49-F238E27FC236}">
                <a16:creationId xmlns:a16="http://schemas.microsoft.com/office/drawing/2014/main" id="{47516BB7-692F-C3B8-017D-7B1296AE45DF}"/>
              </a:ext>
            </a:extLst>
          </p:cNvPr>
          <p:cNvCxnSpPr/>
          <p:nvPr/>
        </p:nvCxnSpPr>
        <p:spPr>
          <a:xfrm flipV="1">
            <a:off x="7000875" y="2449263"/>
            <a:ext cx="418092" cy="418092"/>
          </a:xfrm>
          <a:prstGeom prst="line">
            <a:avLst/>
          </a:prstGeom>
          <a:noFill/>
          <a:ln w="12700" cap="flat" cmpd="sng" algn="ctr">
            <a:solidFill>
              <a:srgbClr val="A6A6A6"/>
            </a:solidFill>
            <a:prstDash val="solid"/>
            <a:tailEnd type="oval"/>
          </a:ln>
          <a:effectLst/>
        </p:spPr>
      </p:cxnSp>
      <p:cxnSp>
        <p:nvCxnSpPr>
          <p:cNvPr id="14" name="Straight Connector 64">
            <a:extLst>
              <a:ext uri="{FF2B5EF4-FFF2-40B4-BE49-F238E27FC236}">
                <a16:creationId xmlns:a16="http://schemas.microsoft.com/office/drawing/2014/main" id="{77C62F3E-6DFF-0468-DC3E-BABEF303BC99}"/>
              </a:ext>
            </a:extLst>
          </p:cNvPr>
          <p:cNvCxnSpPr/>
          <p:nvPr/>
        </p:nvCxnSpPr>
        <p:spPr>
          <a:xfrm flipH="1">
            <a:off x="4693869" y="4678596"/>
            <a:ext cx="535356" cy="535357"/>
          </a:xfrm>
          <a:prstGeom prst="line">
            <a:avLst/>
          </a:prstGeom>
          <a:noFill/>
          <a:ln w="12700" cap="flat" cmpd="sng" algn="ctr">
            <a:solidFill>
              <a:srgbClr val="FFC620"/>
            </a:solidFill>
            <a:prstDash val="solid"/>
            <a:tailEnd type="oval"/>
          </a:ln>
          <a:effectLst/>
        </p:spPr>
      </p:cxnSp>
      <p:grpSp>
        <p:nvGrpSpPr>
          <p:cNvPr id="15" name="Group 5">
            <a:extLst>
              <a:ext uri="{FF2B5EF4-FFF2-40B4-BE49-F238E27FC236}">
                <a16:creationId xmlns:a16="http://schemas.microsoft.com/office/drawing/2014/main" id="{91A7EF9A-1F20-2418-27EA-95CCE3DFB852}"/>
              </a:ext>
            </a:extLst>
          </p:cNvPr>
          <p:cNvGrpSpPr/>
          <p:nvPr/>
        </p:nvGrpSpPr>
        <p:grpSpPr>
          <a:xfrm rot="18900000">
            <a:off x="5615220" y="2685909"/>
            <a:ext cx="1965901" cy="3392018"/>
            <a:chOff x="5106024" y="2591673"/>
            <a:chExt cx="1965901" cy="3392018"/>
          </a:xfrm>
        </p:grpSpPr>
        <p:grpSp>
          <p:nvGrpSpPr>
            <p:cNvPr id="16" name="Group 3">
              <a:extLst>
                <a:ext uri="{FF2B5EF4-FFF2-40B4-BE49-F238E27FC236}">
                  <a16:creationId xmlns:a16="http://schemas.microsoft.com/office/drawing/2014/main" id="{7681064F-096F-8C0C-820B-85A2EF12A81D}"/>
                </a:ext>
              </a:extLst>
            </p:cNvPr>
            <p:cNvGrpSpPr/>
            <p:nvPr/>
          </p:nvGrpSpPr>
          <p:grpSpPr>
            <a:xfrm>
              <a:off x="5911995" y="4462441"/>
              <a:ext cx="362389" cy="1521250"/>
              <a:chOff x="5911995" y="4462441"/>
              <a:chExt cx="362389" cy="1521250"/>
            </a:xfrm>
          </p:grpSpPr>
          <p:sp>
            <p:nvSpPr>
              <p:cNvPr id="20" name="Rectangle 60">
                <a:extLst>
                  <a:ext uri="{FF2B5EF4-FFF2-40B4-BE49-F238E27FC236}">
                    <a16:creationId xmlns:a16="http://schemas.microsoft.com/office/drawing/2014/main" id="{0D038B51-A3F6-C6F5-1437-A9B2E8CFCBCA}"/>
                  </a:ext>
                </a:extLst>
              </p:cNvPr>
              <p:cNvSpPr/>
              <p:nvPr/>
            </p:nvSpPr>
            <p:spPr bwMode="gray">
              <a:xfrm>
                <a:off x="5992058" y="4570026"/>
                <a:ext cx="202266" cy="134842"/>
              </a:xfrm>
              <a:prstGeom prst="rect">
                <a:avLst/>
              </a:prstGeom>
              <a:solidFill>
                <a:srgbClr val="75787B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" name="Rectangle 61">
                <a:extLst>
                  <a:ext uri="{FF2B5EF4-FFF2-40B4-BE49-F238E27FC236}">
                    <a16:creationId xmlns:a16="http://schemas.microsoft.com/office/drawing/2014/main" id="{A5EA1BF5-9910-1636-FB47-E716F72EF7FB}"/>
                  </a:ext>
                </a:extLst>
              </p:cNvPr>
              <p:cNvSpPr/>
              <p:nvPr/>
            </p:nvSpPr>
            <p:spPr bwMode="gray">
              <a:xfrm>
                <a:off x="5911995" y="4684415"/>
                <a:ext cx="362389" cy="1299276"/>
              </a:xfrm>
              <a:prstGeom prst="rect">
                <a:avLst/>
              </a:prstGeom>
              <a:solidFill>
                <a:srgbClr val="000000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" name="Rectangle 2">
                <a:extLst>
                  <a:ext uri="{FF2B5EF4-FFF2-40B4-BE49-F238E27FC236}">
                    <a16:creationId xmlns:a16="http://schemas.microsoft.com/office/drawing/2014/main" id="{9907EE7D-CB6A-7765-DA11-00A16FD042FA}"/>
                  </a:ext>
                </a:extLst>
              </p:cNvPr>
              <p:cNvSpPr/>
              <p:nvPr/>
            </p:nvSpPr>
            <p:spPr bwMode="gray">
              <a:xfrm>
                <a:off x="5953706" y="4462441"/>
                <a:ext cx="278970" cy="134842"/>
              </a:xfrm>
              <a:prstGeom prst="rect">
                <a:avLst/>
              </a:prstGeom>
              <a:solidFill>
                <a:srgbClr val="63666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7" name="Freeform 97">
              <a:extLst>
                <a:ext uri="{FF2B5EF4-FFF2-40B4-BE49-F238E27FC236}">
                  <a16:creationId xmlns:a16="http://schemas.microsoft.com/office/drawing/2014/main" id="{EF36B2B2-AB94-D11F-A628-C1D52DD3A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024" y="2591673"/>
              <a:ext cx="1965901" cy="1964420"/>
            </a:xfrm>
            <a:custGeom>
              <a:avLst/>
              <a:gdLst>
                <a:gd name="T0" fmla="*/ 1076 w 1122"/>
                <a:gd name="T1" fmla="*/ 561 h 1121"/>
                <a:gd name="T2" fmla="*/ 1030 w 1122"/>
                <a:gd name="T3" fmla="*/ 561 h 1121"/>
                <a:gd name="T4" fmla="*/ 993 w 1122"/>
                <a:gd name="T5" fmla="*/ 743 h 1121"/>
                <a:gd name="T6" fmla="*/ 823 w 1122"/>
                <a:gd name="T7" fmla="*/ 949 h 1121"/>
                <a:gd name="T8" fmla="*/ 561 w 1122"/>
                <a:gd name="T9" fmla="*/ 1029 h 1121"/>
                <a:gd name="T10" fmla="*/ 379 w 1122"/>
                <a:gd name="T11" fmla="*/ 993 h 1121"/>
                <a:gd name="T12" fmla="*/ 172 w 1122"/>
                <a:gd name="T13" fmla="*/ 823 h 1121"/>
                <a:gd name="T14" fmla="*/ 92 w 1122"/>
                <a:gd name="T15" fmla="*/ 561 h 1121"/>
                <a:gd name="T16" fmla="*/ 129 w 1122"/>
                <a:gd name="T17" fmla="*/ 378 h 1121"/>
                <a:gd name="T18" fmla="*/ 299 w 1122"/>
                <a:gd name="T19" fmla="*/ 172 h 1121"/>
                <a:gd name="T20" fmla="*/ 561 w 1122"/>
                <a:gd name="T21" fmla="*/ 92 h 1121"/>
                <a:gd name="T22" fmla="*/ 744 w 1122"/>
                <a:gd name="T23" fmla="*/ 128 h 1121"/>
                <a:gd name="T24" fmla="*/ 950 w 1122"/>
                <a:gd name="T25" fmla="*/ 298 h 1121"/>
                <a:gd name="T26" fmla="*/ 1030 w 1122"/>
                <a:gd name="T27" fmla="*/ 561 h 1121"/>
                <a:gd name="T28" fmla="*/ 1076 w 1122"/>
                <a:gd name="T29" fmla="*/ 561 h 1121"/>
                <a:gd name="T30" fmla="*/ 1122 w 1122"/>
                <a:gd name="T31" fmla="*/ 561 h 1121"/>
                <a:gd name="T32" fmla="*/ 1078 w 1122"/>
                <a:gd name="T33" fmla="*/ 342 h 1121"/>
                <a:gd name="T34" fmla="*/ 875 w 1122"/>
                <a:gd name="T35" fmla="*/ 96 h 1121"/>
                <a:gd name="T36" fmla="*/ 561 w 1122"/>
                <a:gd name="T37" fmla="*/ 0 h 1121"/>
                <a:gd name="T38" fmla="*/ 343 w 1122"/>
                <a:gd name="T39" fmla="*/ 44 h 1121"/>
                <a:gd name="T40" fmla="*/ 96 w 1122"/>
                <a:gd name="T41" fmla="*/ 247 h 1121"/>
                <a:gd name="T42" fmla="*/ 0 w 1122"/>
                <a:gd name="T43" fmla="*/ 561 h 1121"/>
                <a:gd name="T44" fmla="*/ 44 w 1122"/>
                <a:gd name="T45" fmla="*/ 779 h 1121"/>
                <a:gd name="T46" fmla="*/ 248 w 1122"/>
                <a:gd name="T47" fmla="*/ 1026 h 1121"/>
                <a:gd name="T48" fmla="*/ 561 w 1122"/>
                <a:gd name="T49" fmla="*/ 1121 h 1121"/>
                <a:gd name="T50" fmla="*/ 779 w 1122"/>
                <a:gd name="T51" fmla="*/ 1077 h 1121"/>
                <a:gd name="T52" fmla="*/ 1026 w 1122"/>
                <a:gd name="T53" fmla="*/ 874 h 1121"/>
                <a:gd name="T54" fmla="*/ 1122 w 1122"/>
                <a:gd name="T55" fmla="*/ 561 h 1121"/>
                <a:gd name="T56" fmla="*/ 1076 w 1122"/>
                <a:gd name="T57" fmla="*/ 561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2" h="1121">
                  <a:moveTo>
                    <a:pt x="1076" y="561"/>
                  </a:moveTo>
                  <a:cubicBezTo>
                    <a:pt x="1030" y="561"/>
                    <a:pt x="1030" y="561"/>
                    <a:pt x="1030" y="561"/>
                  </a:cubicBezTo>
                  <a:cubicBezTo>
                    <a:pt x="1030" y="625"/>
                    <a:pt x="1017" y="687"/>
                    <a:pt x="993" y="743"/>
                  </a:cubicBezTo>
                  <a:cubicBezTo>
                    <a:pt x="958" y="827"/>
                    <a:pt x="898" y="899"/>
                    <a:pt x="823" y="949"/>
                  </a:cubicBezTo>
                  <a:cubicBezTo>
                    <a:pt x="748" y="1000"/>
                    <a:pt x="658" y="1029"/>
                    <a:pt x="561" y="1029"/>
                  </a:cubicBezTo>
                  <a:cubicBezTo>
                    <a:pt x="496" y="1029"/>
                    <a:pt x="435" y="1016"/>
                    <a:pt x="379" y="993"/>
                  </a:cubicBezTo>
                  <a:cubicBezTo>
                    <a:pt x="294" y="957"/>
                    <a:pt x="223" y="898"/>
                    <a:pt x="172" y="823"/>
                  </a:cubicBezTo>
                  <a:cubicBezTo>
                    <a:pt x="122" y="748"/>
                    <a:pt x="92" y="658"/>
                    <a:pt x="92" y="561"/>
                  </a:cubicBezTo>
                  <a:cubicBezTo>
                    <a:pt x="92" y="496"/>
                    <a:pt x="105" y="434"/>
                    <a:pt x="129" y="378"/>
                  </a:cubicBezTo>
                  <a:cubicBezTo>
                    <a:pt x="165" y="294"/>
                    <a:pt x="224" y="222"/>
                    <a:pt x="299" y="172"/>
                  </a:cubicBezTo>
                  <a:cubicBezTo>
                    <a:pt x="374" y="121"/>
                    <a:pt x="464" y="92"/>
                    <a:pt x="561" y="92"/>
                  </a:cubicBezTo>
                  <a:cubicBezTo>
                    <a:pt x="626" y="92"/>
                    <a:pt x="688" y="105"/>
                    <a:pt x="744" y="128"/>
                  </a:cubicBezTo>
                  <a:cubicBezTo>
                    <a:pt x="828" y="164"/>
                    <a:pt x="899" y="224"/>
                    <a:pt x="950" y="298"/>
                  </a:cubicBezTo>
                  <a:cubicBezTo>
                    <a:pt x="1000" y="373"/>
                    <a:pt x="1030" y="463"/>
                    <a:pt x="1030" y="561"/>
                  </a:cubicBezTo>
                  <a:cubicBezTo>
                    <a:pt x="1076" y="561"/>
                    <a:pt x="1076" y="561"/>
                    <a:pt x="1076" y="561"/>
                  </a:cubicBezTo>
                  <a:cubicBezTo>
                    <a:pt x="1122" y="561"/>
                    <a:pt x="1122" y="561"/>
                    <a:pt x="1122" y="561"/>
                  </a:cubicBezTo>
                  <a:cubicBezTo>
                    <a:pt x="1122" y="483"/>
                    <a:pt x="1106" y="409"/>
                    <a:pt x="1078" y="342"/>
                  </a:cubicBezTo>
                  <a:cubicBezTo>
                    <a:pt x="1035" y="242"/>
                    <a:pt x="964" y="156"/>
                    <a:pt x="875" y="96"/>
                  </a:cubicBezTo>
                  <a:cubicBezTo>
                    <a:pt x="785" y="35"/>
                    <a:pt x="677" y="0"/>
                    <a:pt x="561" y="0"/>
                  </a:cubicBezTo>
                  <a:cubicBezTo>
                    <a:pt x="484" y="0"/>
                    <a:pt x="410" y="15"/>
                    <a:pt x="343" y="44"/>
                  </a:cubicBezTo>
                  <a:cubicBezTo>
                    <a:pt x="242" y="86"/>
                    <a:pt x="157" y="157"/>
                    <a:pt x="96" y="247"/>
                  </a:cubicBezTo>
                  <a:cubicBezTo>
                    <a:pt x="36" y="336"/>
                    <a:pt x="0" y="445"/>
                    <a:pt x="0" y="561"/>
                  </a:cubicBezTo>
                  <a:cubicBezTo>
                    <a:pt x="0" y="638"/>
                    <a:pt x="16" y="712"/>
                    <a:pt x="44" y="779"/>
                  </a:cubicBezTo>
                  <a:cubicBezTo>
                    <a:pt x="87" y="880"/>
                    <a:pt x="158" y="965"/>
                    <a:pt x="248" y="1026"/>
                  </a:cubicBezTo>
                  <a:cubicBezTo>
                    <a:pt x="337" y="1086"/>
                    <a:pt x="445" y="1121"/>
                    <a:pt x="561" y="1121"/>
                  </a:cubicBezTo>
                  <a:cubicBezTo>
                    <a:pt x="638" y="1121"/>
                    <a:pt x="712" y="1106"/>
                    <a:pt x="779" y="1077"/>
                  </a:cubicBezTo>
                  <a:cubicBezTo>
                    <a:pt x="880" y="1035"/>
                    <a:pt x="966" y="964"/>
                    <a:pt x="1026" y="874"/>
                  </a:cubicBezTo>
                  <a:cubicBezTo>
                    <a:pt x="1087" y="785"/>
                    <a:pt x="1122" y="677"/>
                    <a:pt x="1122" y="561"/>
                  </a:cubicBezTo>
                  <a:lnTo>
                    <a:pt x="1076" y="561"/>
                  </a:lnTo>
                  <a:close/>
                </a:path>
              </a:pathLst>
            </a:custGeom>
            <a:solidFill>
              <a:srgbClr val="5356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</a:endParaRPr>
            </a:p>
          </p:txBody>
        </p:sp>
        <p:sp>
          <p:nvSpPr>
            <p:cNvPr id="18" name="Freeform 98">
              <a:extLst>
                <a:ext uri="{FF2B5EF4-FFF2-40B4-BE49-F238E27FC236}">
                  <a16:creationId xmlns:a16="http://schemas.microsoft.com/office/drawing/2014/main" id="{74C5E712-33D6-9E50-7A89-EF86BB659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193" y="2621591"/>
              <a:ext cx="1906824" cy="1905322"/>
            </a:xfrm>
            <a:custGeom>
              <a:avLst/>
              <a:gdLst>
                <a:gd name="T0" fmla="*/ 1053 w 1076"/>
                <a:gd name="T1" fmla="*/ 538 h 1075"/>
                <a:gd name="T2" fmla="*/ 1030 w 1076"/>
                <a:gd name="T3" fmla="*/ 538 h 1075"/>
                <a:gd name="T4" fmla="*/ 886 w 1076"/>
                <a:gd name="T5" fmla="*/ 885 h 1075"/>
                <a:gd name="T6" fmla="*/ 538 w 1076"/>
                <a:gd name="T7" fmla="*/ 1029 h 1075"/>
                <a:gd name="T8" fmla="*/ 190 w 1076"/>
                <a:gd name="T9" fmla="*/ 885 h 1075"/>
                <a:gd name="T10" fmla="*/ 46 w 1076"/>
                <a:gd name="T11" fmla="*/ 538 h 1075"/>
                <a:gd name="T12" fmla="*/ 190 w 1076"/>
                <a:gd name="T13" fmla="*/ 190 h 1075"/>
                <a:gd name="T14" fmla="*/ 538 w 1076"/>
                <a:gd name="T15" fmla="*/ 46 h 1075"/>
                <a:gd name="T16" fmla="*/ 886 w 1076"/>
                <a:gd name="T17" fmla="*/ 190 h 1075"/>
                <a:gd name="T18" fmla="*/ 1030 w 1076"/>
                <a:gd name="T19" fmla="*/ 538 h 1075"/>
                <a:gd name="T20" fmla="*/ 1053 w 1076"/>
                <a:gd name="T21" fmla="*/ 538 h 1075"/>
                <a:gd name="T22" fmla="*/ 1076 w 1076"/>
                <a:gd name="T23" fmla="*/ 538 h 1075"/>
                <a:gd name="T24" fmla="*/ 918 w 1076"/>
                <a:gd name="T25" fmla="*/ 157 h 1075"/>
                <a:gd name="T26" fmla="*/ 538 w 1076"/>
                <a:gd name="T27" fmla="*/ 0 h 1075"/>
                <a:gd name="T28" fmla="*/ 158 w 1076"/>
                <a:gd name="T29" fmla="*/ 157 h 1075"/>
                <a:gd name="T30" fmla="*/ 0 w 1076"/>
                <a:gd name="T31" fmla="*/ 538 h 1075"/>
                <a:gd name="T32" fmla="*/ 158 w 1076"/>
                <a:gd name="T33" fmla="*/ 918 h 1075"/>
                <a:gd name="T34" fmla="*/ 538 w 1076"/>
                <a:gd name="T35" fmla="*/ 1075 h 1075"/>
                <a:gd name="T36" fmla="*/ 918 w 1076"/>
                <a:gd name="T37" fmla="*/ 918 h 1075"/>
                <a:gd name="T38" fmla="*/ 1076 w 1076"/>
                <a:gd name="T39" fmla="*/ 538 h 1075"/>
                <a:gd name="T40" fmla="*/ 1053 w 1076"/>
                <a:gd name="T41" fmla="*/ 538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6" h="1075">
                  <a:moveTo>
                    <a:pt x="1053" y="538"/>
                  </a:moveTo>
                  <a:cubicBezTo>
                    <a:pt x="1030" y="538"/>
                    <a:pt x="1030" y="538"/>
                    <a:pt x="1030" y="538"/>
                  </a:cubicBezTo>
                  <a:cubicBezTo>
                    <a:pt x="1030" y="673"/>
                    <a:pt x="975" y="796"/>
                    <a:pt x="886" y="885"/>
                  </a:cubicBezTo>
                  <a:cubicBezTo>
                    <a:pt x="797" y="974"/>
                    <a:pt x="674" y="1029"/>
                    <a:pt x="538" y="1029"/>
                  </a:cubicBezTo>
                  <a:cubicBezTo>
                    <a:pt x="402" y="1029"/>
                    <a:pt x="279" y="974"/>
                    <a:pt x="190" y="885"/>
                  </a:cubicBezTo>
                  <a:cubicBezTo>
                    <a:pt x="101" y="796"/>
                    <a:pt x="46" y="673"/>
                    <a:pt x="46" y="538"/>
                  </a:cubicBezTo>
                  <a:cubicBezTo>
                    <a:pt x="46" y="402"/>
                    <a:pt x="101" y="279"/>
                    <a:pt x="190" y="190"/>
                  </a:cubicBezTo>
                  <a:cubicBezTo>
                    <a:pt x="279" y="101"/>
                    <a:pt x="402" y="46"/>
                    <a:pt x="538" y="46"/>
                  </a:cubicBezTo>
                  <a:cubicBezTo>
                    <a:pt x="674" y="46"/>
                    <a:pt x="797" y="101"/>
                    <a:pt x="886" y="190"/>
                  </a:cubicBezTo>
                  <a:cubicBezTo>
                    <a:pt x="975" y="279"/>
                    <a:pt x="1030" y="402"/>
                    <a:pt x="1030" y="538"/>
                  </a:cubicBezTo>
                  <a:cubicBezTo>
                    <a:pt x="1053" y="538"/>
                    <a:pt x="1053" y="538"/>
                    <a:pt x="1053" y="538"/>
                  </a:cubicBezTo>
                  <a:cubicBezTo>
                    <a:pt x="1076" y="538"/>
                    <a:pt x="1076" y="538"/>
                    <a:pt x="1076" y="538"/>
                  </a:cubicBezTo>
                  <a:cubicBezTo>
                    <a:pt x="1076" y="389"/>
                    <a:pt x="1016" y="255"/>
                    <a:pt x="918" y="157"/>
                  </a:cubicBezTo>
                  <a:cubicBezTo>
                    <a:pt x="821" y="60"/>
                    <a:pt x="687" y="0"/>
                    <a:pt x="538" y="0"/>
                  </a:cubicBezTo>
                  <a:cubicBezTo>
                    <a:pt x="390" y="0"/>
                    <a:pt x="255" y="60"/>
                    <a:pt x="158" y="157"/>
                  </a:cubicBezTo>
                  <a:cubicBezTo>
                    <a:pt x="61" y="255"/>
                    <a:pt x="0" y="389"/>
                    <a:pt x="0" y="538"/>
                  </a:cubicBezTo>
                  <a:cubicBezTo>
                    <a:pt x="0" y="686"/>
                    <a:pt x="61" y="821"/>
                    <a:pt x="158" y="918"/>
                  </a:cubicBezTo>
                  <a:cubicBezTo>
                    <a:pt x="255" y="1015"/>
                    <a:pt x="390" y="1075"/>
                    <a:pt x="538" y="1075"/>
                  </a:cubicBezTo>
                  <a:cubicBezTo>
                    <a:pt x="687" y="1075"/>
                    <a:pt x="821" y="1015"/>
                    <a:pt x="918" y="918"/>
                  </a:cubicBezTo>
                  <a:cubicBezTo>
                    <a:pt x="1016" y="821"/>
                    <a:pt x="1076" y="686"/>
                    <a:pt x="1076" y="538"/>
                  </a:cubicBezTo>
                  <a:lnTo>
                    <a:pt x="1053" y="5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</a:endParaRPr>
            </a:p>
          </p:txBody>
        </p:sp>
        <p:sp>
          <p:nvSpPr>
            <p:cNvPr id="19" name="Oval 19">
              <a:extLst>
                <a:ext uri="{FF2B5EF4-FFF2-40B4-BE49-F238E27FC236}">
                  <a16:creationId xmlns:a16="http://schemas.microsoft.com/office/drawing/2014/main" id="{CC083BAE-B8E3-733C-5DC9-1713C0024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7288" y="2663676"/>
              <a:ext cx="1822634" cy="1822634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</a:endParaRP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6AF3BFAF-595E-6ABE-D144-92B02EA961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8782" y="3317914"/>
            <a:ext cx="1314435" cy="1024604"/>
          </a:xfrm>
          <a:prstGeom prst="rect">
            <a:avLst/>
          </a:prstGeom>
        </p:spPr>
      </p:pic>
      <p:sp>
        <p:nvSpPr>
          <p:cNvPr id="27" name="Freeform 579">
            <a:extLst>
              <a:ext uri="{FF2B5EF4-FFF2-40B4-BE49-F238E27FC236}">
                <a16:creationId xmlns:a16="http://schemas.microsoft.com/office/drawing/2014/main" id="{4D741C20-7F70-478E-9A18-C84D72BF4AC6}"/>
              </a:ext>
            </a:extLst>
          </p:cNvPr>
          <p:cNvSpPr>
            <a:spLocks noEditPoints="1"/>
          </p:cNvSpPr>
          <p:nvPr/>
        </p:nvSpPr>
        <p:spPr bwMode="auto">
          <a:xfrm>
            <a:off x="3999154" y="5091016"/>
            <a:ext cx="811928" cy="811924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FFC620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30" name="Freeform 418">
            <a:extLst>
              <a:ext uri="{FF2B5EF4-FFF2-40B4-BE49-F238E27FC236}">
                <a16:creationId xmlns:a16="http://schemas.microsoft.com/office/drawing/2014/main" id="{C8727FC6-1FAE-AD61-037A-C053B5F07755}"/>
              </a:ext>
            </a:extLst>
          </p:cNvPr>
          <p:cNvSpPr>
            <a:spLocks noEditPoints="1"/>
          </p:cNvSpPr>
          <p:nvPr/>
        </p:nvSpPr>
        <p:spPr bwMode="auto">
          <a:xfrm>
            <a:off x="7330150" y="1788892"/>
            <a:ext cx="808870" cy="81124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33" name="Freeform 342">
            <a:extLst>
              <a:ext uri="{FF2B5EF4-FFF2-40B4-BE49-F238E27FC236}">
                <a16:creationId xmlns:a16="http://schemas.microsoft.com/office/drawing/2014/main" id="{89E5BD6B-1043-807F-29BB-749E39D23554}"/>
              </a:ext>
            </a:extLst>
          </p:cNvPr>
          <p:cNvSpPr>
            <a:spLocks noEditPoints="1"/>
          </p:cNvSpPr>
          <p:nvPr/>
        </p:nvSpPr>
        <p:spPr bwMode="auto">
          <a:xfrm>
            <a:off x="3999108" y="1789331"/>
            <a:ext cx="812018" cy="809638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257C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A79DF0A-775C-C24A-93FE-8DCCCA6EE8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447" y="1952480"/>
            <a:ext cx="483340" cy="48334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69A5961C-AF25-8AD3-EA0B-1FE5D41BE6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188" y="5258049"/>
            <a:ext cx="477858" cy="47785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58533E7-F588-AC47-EC61-994B59AF9A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6053" y="1926275"/>
            <a:ext cx="515405" cy="5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690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27" grpId="0" animBg="1"/>
      <p:bldP spid="30" grpId="0" animBg="1"/>
      <p:bldP spid="3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C62033E-1B47-0F1B-17DB-6FE73B2F9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5BBB32E5-FE2F-36D3-40D6-B60697FB7423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781A00-7DB6-B420-9A90-650E63D4F466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Donnerstag, 10. Juli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1B960D0C-B7F8-361F-DC04-2EF653655294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8115D7-1367-D170-0C6B-D1AD28CC40AB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A5D865-B2F2-CE69-52AA-B616DB4FC4AB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957D3D3-E5A0-FCED-CCDC-391A20BADBDB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746880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ED0C3-37FB-E5F9-B6E9-102A59F05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017E9-F0D1-CF5F-45A0-363E5916D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Kurzdarstellung der Projektidee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8E178-460A-C007-A4F6-9994D9241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FE0A35-C663-7212-84D9-4B13F41EF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9B02CE-3470-F4D7-CE28-46FB365D1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grpSp>
        <p:nvGrpSpPr>
          <p:cNvPr id="10" name="Group 71">
            <a:extLst>
              <a:ext uri="{FF2B5EF4-FFF2-40B4-BE49-F238E27FC236}">
                <a16:creationId xmlns:a16="http://schemas.microsoft.com/office/drawing/2014/main" id="{FE66F20D-9F5B-2B0D-631E-0F655AAD1F6A}"/>
              </a:ext>
            </a:extLst>
          </p:cNvPr>
          <p:cNvGrpSpPr/>
          <p:nvPr/>
        </p:nvGrpSpPr>
        <p:grpSpPr>
          <a:xfrm>
            <a:off x="2175935" y="1691246"/>
            <a:ext cx="7617114" cy="4250644"/>
            <a:chOff x="1654744" y="1700213"/>
            <a:chExt cx="8702799" cy="4755201"/>
          </a:xfrm>
        </p:grpSpPr>
        <p:grpSp>
          <p:nvGrpSpPr>
            <p:cNvPr id="11" name="Group 72">
              <a:extLst>
                <a:ext uri="{FF2B5EF4-FFF2-40B4-BE49-F238E27FC236}">
                  <a16:creationId xmlns:a16="http://schemas.microsoft.com/office/drawing/2014/main" id="{0436F186-182D-745B-7D8B-07F015B08F96}"/>
                </a:ext>
              </a:extLst>
            </p:cNvPr>
            <p:cNvGrpSpPr/>
            <p:nvPr/>
          </p:nvGrpSpPr>
          <p:grpSpPr>
            <a:xfrm>
              <a:off x="1828800" y="1700213"/>
              <a:ext cx="8378371" cy="4577916"/>
              <a:chOff x="1841500" y="1799071"/>
              <a:chExt cx="8378371" cy="4577916"/>
            </a:xfrm>
          </p:grpSpPr>
          <p:grpSp>
            <p:nvGrpSpPr>
              <p:cNvPr id="14" name="Group 75">
                <a:extLst>
                  <a:ext uri="{FF2B5EF4-FFF2-40B4-BE49-F238E27FC236}">
                    <a16:creationId xmlns:a16="http://schemas.microsoft.com/office/drawing/2014/main" id="{B67772BE-1D5C-62B3-B815-8B15B67F6F46}"/>
                  </a:ext>
                </a:extLst>
              </p:cNvPr>
              <p:cNvGrpSpPr/>
              <p:nvPr/>
            </p:nvGrpSpPr>
            <p:grpSpPr>
              <a:xfrm>
                <a:off x="4435134" y="1799071"/>
                <a:ext cx="3191102" cy="1077912"/>
                <a:chOff x="4278313" y="1799071"/>
                <a:chExt cx="3191102" cy="1077912"/>
              </a:xfrm>
              <a:solidFill>
                <a:sysClr val="windowText" lastClr="000000"/>
              </a:solidFill>
            </p:grpSpPr>
            <p:sp>
              <p:nvSpPr>
                <p:cNvPr id="24" name="Oval 85">
                  <a:extLst>
                    <a:ext uri="{FF2B5EF4-FFF2-40B4-BE49-F238E27FC236}">
                      <a16:creationId xmlns:a16="http://schemas.microsoft.com/office/drawing/2014/main" id="{A05B9ACF-1600-758B-15D6-8B7E1A3827B7}"/>
                    </a:ext>
                  </a:extLst>
                </p:cNvPr>
                <p:cNvSpPr/>
                <p:nvPr/>
              </p:nvSpPr>
              <p:spPr bwMode="gray">
                <a:xfrm>
                  <a:off x="4278313" y="1799071"/>
                  <a:ext cx="1077912" cy="1077912"/>
                </a:xfrm>
                <a:prstGeom prst="ellipse">
                  <a:avLst/>
                </a:prstGeom>
                <a:solidFill>
                  <a:schemeClr val="bg1"/>
                </a:solidFill>
                <a:ln w="25400" algn="ctr">
                  <a:solidFill>
                    <a:srgbClr val="63666A"/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86">
                  <a:extLst>
                    <a:ext uri="{FF2B5EF4-FFF2-40B4-BE49-F238E27FC236}">
                      <a16:creationId xmlns:a16="http://schemas.microsoft.com/office/drawing/2014/main" id="{054A5C8F-D1A4-93AD-2FCE-BE2223174687}"/>
                    </a:ext>
                  </a:extLst>
                </p:cNvPr>
                <p:cNvSpPr/>
                <p:nvPr/>
              </p:nvSpPr>
              <p:spPr bwMode="gray">
                <a:xfrm>
                  <a:off x="6391503" y="1799071"/>
                  <a:ext cx="1077912" cy="1077912"/>
                </a:xfrm>
                <a:prstGeom prst="ellipse">
                  <a:avLst/>
                </a:prstGeom>
                <a:solidFill>
                  <a:schemeClr val="bg1"/>
                </a:solidFill>
                <a:ln w="25400" algn="ctr">
                  <a:solidFill>
                    <a:srgbClr val="63666A"/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" name="Rectangle: Rounded Corners 76">
                <a:extLst>
                  <a:ext uri="{FF2B5EF4-FFF2-40B4-BE49-F238E27FC236}">
                    <a16:creationId xmlns:a16="http://schemas.microsoft.com/office/drawing/2014/main" id="{75171888-8A1A-ACDF-07EA-4226B9CEDA11}"/>
                  </a:ext>
                </a:extLst>
              </p:cNvPr>
              <p:cNvSpPr/>
              <p:nvPr/>
            </p:nvSpPr>
            <p:spPr bwMode="gray">
              <a:xfrm>
                <a:off x="2687410" y="2209800"/>
                <a:ext cx="6686550" cy="310038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 algn="ctr">
                <a:solidFill>
                  <a:srgbClr val="63666A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Rectangle: Rounded Corners 77">
                <a:extLst>
                  <a:ext uri="{FF2B5EF4-FFF2-40B4-BE49-F238E27FC236}">
                    <a16:creationId xmlns:a16="http://schemas.microsoft.com/office/drawing/2014/main" id="{75718073-ADC1-B700-A7CF-ADC4EE42D567}"/>
                  </a:ext>
                </a:extLst>
              </p:cNvPr>
              <p:cNvSpPr/>
              <p:nvPr/>
            </p:nvSpPr>
            <p:spPr bwMode="gray">
              <a:xfrm>
                <a:off x="5643335" y="3100387"/>
                <a:ext cx="774700" cy="3286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5400" algn="ctr">
                <a:solidFill>
                  <a:srgbClr val="63666A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7" name="Group 78">
                <a:extLst>
                  <a:ext uri="{FF2B5EF4-FFF2-40B4-BE49-F238E27FC236}">
                    <a16:creationId xmlns:a16="http://schemas.microsoft.com/office/drawing/2014/main" id="{4E122B03-D206-6661-D88B-A8AD6DEC76DC}"/>
                  </a:ext>
                </a:extLst>
              </p:cNvPr>
              <p:cNvGrpSpPr/>
              <p:nvPr/>
            </p:nvGrpSpPr>
            <p:grpSpPr>
              <a:xfrm>
                <a:off x="1841500" y="2795587"/>
                <a:ext cx="8378371" cy="3581400"/>
                <a:chOff x="1841500" y="2795587"/>
                <a:chExt cx="8378371" cy="3581400"/>
              </a:xfrm>
            </p:grpSpPr>
            <p:grpSp>
              <p:nvGrpSpPr>
                <p:cNvPr id="18" name="Group 79">
                  <a:extLst>
                    <a:ext uri="{FF2B5EF4-FFF2-40B4-BE49-F238E27FC236}">
                      <a16:creationId xmlns:a16="http://schemas.microsoft.com/office/drawing/2014/main" id="{F5F9148E-8063-37BD-AA49-6E95F2F833B5}"/>
                    </a:ext>
                  </a:extLst>
                </p:cNvPr>
                <p:cNvGrpSpPr/>
                <p:nvPr/>
              </p:nvGrpSpPr>
              <p:grpSpPr>
                <a:xfrm>
                  <a:off x="1841500" y="2795587"/>
                  <a:ext cx="3581400" cy="3581400"/>
                  <a:chOff x="1841500" y="2795587"/>
                  <a:chExt cx="3581400" cy="3581400"/>
                </a:xfrm>
              </p:grpSpPr>
              <p:sp>
                <p:nvSpPr>
                  <p:cNvPr id="22" name="Oval 83">
                    <a:extLst>
                      <a:ext uri="{FF2B5EF4-FFF2-40B4-BE49-F238E27FC236}">
                        <a16:creationId xmlns:a16="http://schemas.microsoft.com/office/drawing/2014/main" id="{F02E4F3B-2CE4-9E0A-AEA5-865D9A0B82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41500" y="2795587"/>
                    <a:ext cx="3581400" cy="35814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25400" algn="ctr">
                    <a:solidFill>
                      <a:srgbClr val="63666A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Oval 84">
                    <a:extLst>
                      <a:ext uri="{FF2B5EF4-FFF2-40B4-BE49-F238E27FC236}">
                        <a16:creationId xmlns:a16="http://schemas.microsoft.com/office/drawing/2014/main" id="{6CCCA556-85F7-FDF4-705A-2A903BDE00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2004291" y="2958378"/>
                    <a:ext cx="3255819" cy="3255818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algn="ctr">
                    <a:solidFill>
                      <a:srgbClr val="63666A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600" b="1" i="0" u="none" strike="noStrike" kern="0" cap="small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" name="Group 80">
                  <a:extLst>
                    <a:ext uri="{FF2B5EF4-FFF2-40B4-BE49-F238E27FC236}">
                      <a16:creationId xmlns:a16="http://schemas.microsoft.com/office/drawing/2014/main" id="{264E3D72-7370-F8F4-C92C-0419E54C872E}"/>
                    </a:ext>
                  </a:extLst>
                </p:cNvPr>
                <p:cNvGrpSpPr/>
                <p:nvPr/>
              </p:nvGrpSpPr>
              <p:grpSpPr>
                <a:xfrm>
                  <a:off x="6638471" y="2795587"/>
                  <a:ext cx="3581400" cy="3581400"/>
                  <a:chOff x="6638471" y="2795587"/>
                  <a:chExt cx="3581400" cy="3581400"/>
                </a:xfrm>
              </p:grpSpPr>
              <p:sp>
                <p:nvSpPr>
                  <p:cNvPr id="20" name="Oval 81">
                    <a:extLst>
                      <a:ext uri="{FF2B5EF4-FFF2-40B4-BE49-F238E27FC236}">
                        <a16:creationId xmlns:a16="http://schemas.microsoft.com/office/drawing/2014/main" id="{38B6784F-9D1B-5729-B74B-1D68E715DC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638471" y="2795587"/>
                    <a:ext cx="3581400" cy="35814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25400" algn="ctr">
                    <a:solidFill>
                      <a:srgbClr val="63666A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12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Oval 82">
                    <a:extLst>
                      <a:ext uri="{FF2B5EF4-FFF2-40B4-BE49-F238E27FC236}">
                        <a16:creationId xmlns:a16="http://schemas.microsoft.com/office/drawing/2014/main" id="{DA8B6B24-B6EC-6DDF-70B2-9E998F1B8B2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801262" y="2958378"/>
                    <a:ext cx="3255818" cy="3255818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algn="ctr">
                    <a:solidFill>
                      <a:srgbClr val="63666A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600" b="1" i="0" u="none" strike="noStrike" kern="0" cap="small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2" name="Arc 73">
              <a:extLst>
                <a:ext uri="{FF2B5EF4-FFF2-40B4-BE49-F238E27FC236}">
                  <a16:creationId xmlns:a16="http://schemas.microsoft.com/office/drawing/2014/main" id="{8469A330-63DD-A708-586F-00BD6C96320C}"/>
                </a:ext>
              </a:extLst>
            </p:cNvPr>
            <p:cNvSpPr/>
            <p:nvPr/>
          </p:nvSpPr>
          <p:spPr>
            <a:xfrm>
              <a:off x="1654744" y="2547558"/>
              <a:ext cx="3907856" cy="3907856"/>
            </a:xfrm>
            <a:prstGeom prst="arc">
              <a:avLst>
                <a:gd name="adj1" fmla="val 10289724"/>
                <a:gd name="adj2" fmla="val 14203769"/>
              </a:avLst>
            </a:prstGeom>
            <a:noFill/>
            <a:ln w="25400" cap="flat" cmpd="sng" algn="ctr">
              <a:solidFill>
                <a:srgbClr val="00257C"/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Arc 74">
              <a:extLst>
                <a:ext uri="{FF2B5EF4-FFF2-40B4-BE49-F238E27FC236}">
                  <a16:creationId xmlns:a16="http://schemas.microsoft.com/office/drawing/2014/main" id="{7E46E619-50D4-FBF2-2CD9-528C6A824D8E}"/>
                </a:ext>
              </a:extLst>
            </p:cNvPr>
            <p:cNvSpPr/>
            <p:nvPr/>
          </p:nvSpPr>
          <p:spPr>
            <a:xfrm>
              <a:off x="6449687" y="2545152"/>
              <a:ext cx="3907856" cy="3907856"/>
            </a:xfrm>
            <a:prstGeom prst="arc">
              <a:avLst>
                <a:gd name="adj1" fmla="val 19787989"/>
                <a:gd name="adj2" fmla="val 2137327"/>
              </a:avLst>
            </a:prstGeom>
            <a:noFill/>
            <a:ln w="25400" cap="flat" cmpd="sng" algn="ctr">
              <a:solidFill>
                <a:srgbClr val="00257C"/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664F057B-04E9-A820-7477-5B8C7C0B90A5}"/>
              </a:ext>
            </a:extLst>
          </p:cNvPr>
          <p:cNvSpPr txBox="1"/>
          <p:nvPr/>
        </p:nvSpPr>
        <p:spPr>
          <a:xfrm>
            <a:off x="2523418" y="3456148"/>
            <a:ext cx="27443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U muss konkurrenzfähig sein für stabilen und kontinuierlichen Wohlstand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4405ED7-0840-6610-6A07-0640D3DEAE37}"/>
              </a:ext>
            </a:extLst>
          </p:cNvPr>
          <p:cNvSpPr txBox="1"/>
          <p:nvPr/>
        </p:nvSpPr>
        <p:spPr>
          <a:xfrm>
            <a:off x="6721961" y="3733147"/>
            <a:ext cx="27443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novationen</a:t>
            </a:r>
            <a:r>
              <a:rPr kumimoji="0" lang="de-DE" sz="1800" b="1" i="0" u="none" strike="noStrike" kern="1200" cap="small" spc="0" normalizeH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und Fortschritte zwingend notwendig</a:t>
            </a:r>
            <a:endParaRPr kumimoji="0" lang="de-DE" sz="1800" b="1" i="0" u="none" strike="noStrike" kern="1200" cap="small" spc="0" normalizeH="0" baseline="0" noProof="0" dirty="0">
              <a:ln>
                <a:noFill/>
              </a:ln>
              <a:solidFill>
                <a:srgbClr val="00257C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6A8A2A3-F552-23FC-F9ED-C0BE6A2EF7AE}"/>
              </a:ext>
            </a:extLst>
          </p:cNvPr>
          <p:cNvSpPr txBox="1"/>
          <p:nvPr/>
        </p:nvSpPr>
        <p:spPr>
          <a:xfrm>
            <a:off x="6710709" y="4548292"/>
            <a:ext cx="2744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rschung</a:t>
            </a:r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A152A603-A67F-5573-8CC6-85DD5BB44BE1}"/>
              </a:ext>
            </a:extLst>
          </p:cNvPr>
          <p:cNvSpPr/>
          <p:nvPr/>
        </p:nvSpPr>
        <p:spPr>
          <a:xfrm>
            <a:off x="7772590" y="4148763"/>
            <a:ext cx="643073" cy="435610"/>
          </a:xfrm>
          <a:prstGeom prst="downArrow">
            <a:avLst/>
          </a:prstGeom>
          <a:solidFill>
            <a:srgbClr val="0025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796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07407E-6 L -0.00026 -0.08194 " pathEditMode="relative" rAng="0" ptsTypes="AA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40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" presetClass="entr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7" grpId="1"/>
      <p:bldP spid="28" grpId="0"/>
      <p:bldP spid="28" grpId="1"/>
      <p:bldP spid="2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ABA4D-A5BC-2344-4A96-BF04E1392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14A6A6-4B29-62E8-FBF4-77C85F89A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DB57BE-0455-A2B2-B2BE-680D2083E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1B7A62-0972-88C4-FA57-21EEFC4D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618C6287-F1A2-5ABF-A8F8-EA59C3961607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r>
              <a:rPr lang="de-DE" cap="small" dirty="0"/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76F4BA5-EC0F-697C-374C-A44E249A7E7E}"/>
              </a:ext>
            </a:extLst>
          </p:cNvPr>
          <p:cNvSpPr txBox="1"/>
          <p:nvPr/>
        </p:nvSpPr>
        <p:spPr>
          <a:xfrm>
            <a:off x="1025750" y="1425427"/>
            <a:ext cx="31873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u="sng" cap="small" dirty="0">
                <a:solidFill>
                  <a:srgbClr val="00257C"/>
                </a:solidFill>
              </a:rPr>
              <a:t>Hypothesenübersicht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69FF6C-0BC2-8644-FB5D-CD9A2E1F9A17}"/>
              </a:ext>
            </a:extLst>
          </p:cNvPr>
          <p:cNvGrpSpPr/>
          <p:nvPr/>
        </p:nvGrpSpPr>
        <p:grpSpPr>
          <a:xfrm>
            <a:off x="2343381" y="1836118"/>
            <a:ext cx="540000" cy="2647391"/>
            <a:chOff x="2343381" y="1836118"/>
            <a:chExt cx="540000" cy="2647391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89ED4B20-DE2E-12A0-05FC-9002AE0708C4}"/>
                </a:ext>
              </a:extLst>
            </p:cNvPr>
            <p:cNvSpPr/>
            <p:nvPr/>
          </p:nvSpPr>
          <p:spPr>
            <a:xfrm>
              <a:off x="2343381" y="2606021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3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5A1F9BD9-0446-749F-35DA-BBC389B6B4B2}"/>
                </a:ext>
              </a:extLst>
            </p:cNvPr>
            <p:cNvSpPr/>
            <p:nvPr/>
          </p:nvSpPr>
          <p:spPr>
            <a:xfrm>
              <a:off x="2343381" y="2990972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4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72E83CBF-557B-E085-8F1E-F60724FE21A6}"/>
                </a:ext>
              </a:extLst>
            </p:cNvPr>
            <p:cNvSpPr/>
            <p:nvPr/>
          </p:nvSpPr>
          <p:spPr>
            <a:xfrm>
              <a:off x="2343381" y="3375923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5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D251E9C2-4169-EC4A-A1D1-FF485EC0CEBC}"/>
                </a:ext>
              </a:extLst>
            </p:cNvPr>
            <p:cNvSpPr/>
            <p:nvPr/>
          </p:nvSpPr>
          <p:spPr>
            <a:xfrm>
              <a:off x="2343381" y="3760874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6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AE0EEE52-C786-479E-FCC3-FC5829059689}"/>
                </a:ext>
              </a:extLst>
            </p:cNvPr>
            <p:cNvSpPr/>
            <p:nvPr/>
          </p:nvSpPr>
          <p:spPr>
            <a:xfrm>
              <a:off x="2343381" y="4145826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7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1D7D8CED-E45F-3436-1E9B-58A380E0A0A1}"/>
                </a:ext>
              </a:extLst>
            </p:cNvPr>
            <p:cNvSpPr/>
            <p:nvPr/>
          </p:nvSpPr>
          <p:spPr>
            <a:xfrm>
              <a:off x="2343381" y="2221070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2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C2C8A9D8-14ED-9B34-ABA7-115BA2650DAE}"/>
                </a:ext>
              </a:extLst>
            </p:cNvPr>
            <p:cNvSpPr/>
            <p:nvPr/>
          </p:nvSpPr>
          <p:spPr>
            <a:xfrm>
              <a:off x="2343381" y="1836118"/>
              <a:ext cx="540000" cy="337683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H</a:t>
              </a:r>
              <a:r>
                <a:rPr lang="de-DE" sz="1000" b="1" dirty="0">
                  <a:solidFill>
                    <a:schemeClr val="tx1"/>
                  </a:solidFill>
                </a:rPr>
                <a:t>1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0E20924D-5DB3-6315-3F54-5576A9B7BA31}"/>
              </a:ext>
            </a:extLst>
          </p:cNvPr>
          <p:cNvSpPr/>
          <p:nvPr/>
        </p:nvSpPr>
        <p:spPr>
          <a:xfrm>
            <a:off x="1025750" y="261133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5E5635F4-0654-C0DC-889A-CCDD9D8D07B2}"/>
              </a:ext>
            </a:extLst>
          </p:cNvPr>
          <p:cNvSpPr/>
          <p:nvPr/>
        </p:nvSpPr>
        <p:spPr>
          <a:xfrm>
            <a:off x="1025750" y="299628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4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0" name="Rechteck: abgerundete Ecken 49">
            <a:extLst>
              <a:ext uri="{FF2B5EF4-FFF2-40B4-BE49-F238E27FC236}">
                <a16:creationId xmlns:a16="http://schemas.microsoft.com/office/drawing/2014/main" id="{A6CFC9B5-C380-35A2-3F74-EA83E950384C}"/>
              </a:ext>
            </a:extLst>
          </p:cNvPr>
          <p:cNvSpPr/>
          <p:nvPr/>
        </p:nvSpPr>
        <p:spPr>
          <a:xfrm>
            <a:off x="1025750" y="3381234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66338E8-69C1-BE8B-85BE-C5CFEEC89481}"/>
              </a:ext>
            </a:extLst>
          </p:cNvPr>
          <p:cNvSpPr/>
          <p:nvPr/>
        </p:nvSpPr>
        <p:spPr>
          <a:xfrm>
            <a:off x="1025750" y="3766185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6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2" name="Rechteck: abgerundete Ecken 51">
            <a:extLst>
              <a:ext uri="{FF2B5EF4-FFF2-40B4-BE49-F238E27FC236}">
                <a16:creationId xmlns:a16="http://schemas.microsoft.com/office/drawing/2014/main" id="{FBE7C547-5FB0-026A-C925-07D45E20D057}"/>
              </a:ext>
            </a:extLst>
          </p:cNvPr>
          <p:cNvSpPr/>
          <p:nvPr/>
        </p:nvSpPr>
        <p:spPr>
          <a:xfrm>
            <a:off x="1025750" y="4151137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7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84A59FB8-C600-1BBA-696E-042C1E9E1B3B}"/>
              </a:ext>
            </a:extLst>
          </p:cNvPr>
          <p:cNvSpPr/>
          <p:nvPr/>
        </p:nvSpPr>
        <p:spPr>
          <a:xfrm>
            <a:off x="1025750" y="222638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2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2F2937EC-2713-0DEC-BAFF-53EC80F6BD44}"/>
              </a:ext>
            </a:extLst>
          </p:cNvPr>
          <p:cNvSpPr/>
          <p:nvPr/>
        </p:nvSpPr>
        <p:spPr>
          <a:xfrm>
            <a:off x="1025750" y="1841429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H</a:t>
            </a:r>
            <a:r>
              <a:rPr lang="de-DE" sz="1000" b="1" dirty="0">
                <a:solidFill>
                  <a:schemeClr val="tx1"/>
                </a:solidFill>
              </a:rPr>
              <a:t>1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969900F7-768D-DB96-0EF5-0EC0955E69CC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11C8CC11-5E82-0D72-7123-0ABD6EDBF614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feld 67">
            <a:extLst>
              <a:ext uri="{FF2B5EF4-FFF2-40B4-BE49-F238E27FC236}">
                <a16:creationId xmlns:a16="http://schemas.microsoft.com/office/drawing/2014/main" id="{8C6DF8F5-940E-7108-187C-F4B50B3BFC48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cap="small" dirty="0">
                <a:solidFill>
                  <a:srgbClr val="7F7F7F"/>
                </a:solidFill>
              </a:rPr>
              <a:t>Planmäßige Umsetzung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438E401-593A-89F2-05BD-2F813D05AB01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cap="small" dirty="0">
                <a:solidFill>
                  <a:srgbClr val="3A3A3A"/>
                </a:solidFill>
              </a:rPr>
              <a:t>Tatsächliche Umsetzung</a:t>
            </a:r>
          </a:p>
        </p:txBody>
      </p: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32B0D547-ADAA-6757-D145-8202D60637B6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292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1.85185E-6 L -0.10807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04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63564D-3C2F-AD80-0152-DDD786C92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6E080E9-AB7B-A9D5-10A6-FE830AE81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93C01-8F98-858D-32C3-F0776E85F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2B5088-4D86-47CE-A947-54DFE41A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22E83C33-FA17-0179-AA46-B7B2A65DFB76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DDB594C-40D1-CAF2-433A-481582762D7D}"/>
              </a:ext>
            </a:extLst>
          </p:cNvPr>
          <p:cNvSpPr txBox="1"/>
          <p:nvPr/>
        </p:nvSpPr>
        <p:spPr>
          <a:xfrm>
            <a:off x="1025750" y="1425427"/>
            <a:ext cx="31873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377DAD1-D921-216B-D754-4ED7A6DF34DD}"/>
              </a:ext>
            </a:extLst>
          </p:cNvPr>
          <p:cNvSpPr/>
          <p:nvPr/>
        </p:nvSpPr>
        <p:spPr>
          <a:xfrm>
            <a:off x="1025750" y="1839610"/>
            <a:ext cx="540000" cy="686041"/>
          </a:xfrm>
          <a:prstGeom prst="roundRect">
            <a:avLst>
              <a:gd name="adj" fmla="val 9444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F5FFA2BD-3E65-31D8-5F46-7FBC4F0A96F2}"/>
              </a:ext>
            </a:extLst>
          </p:cNvPr>
          <p:cNvSpPr/>
          <p:nvPr/>
        </p:nvSpPr>
        <p:spPr>
          <a:xfrm>
            <a:off x="1025750" y="2962358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FA9810F1-17C4-4BE3-0B73-D8D9AF066E3B}"/>
              </a:ext>
            </a:extLst>
          </p:cNvPr>
          <p:cNvSpPr/>
          <p:nvPr/>
        </p:nvSpPr>
        <p:spPr>
          <a:xfrm>
            <a:off x="1025750" y="3347309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EF13C132-D4F4-A99C-7768-D8538BC742DB}"/>
              </a:ext>
            </a:extLst>
          </p:cNvPr>
          <p:cNvSpPr/>
          <p:nvPr/>
        </p:nvSpPr>
        <p:spPr>
          <a:xfrm>
            <a:off x="1025750" y="373226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479CB054-27F2-4955-5BC0-5F7C20DF0CE4}"/>
              </a:ext>
            </a:extLst>
          </p:cNvPr>
          <p:cNvSpPr/>
          <p:nvPr/>
        </p:nvSpPr>
        <p:spPr>
          <a:xfrm>
            <a:off x="1025750" y="411721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D5B5A060-4B50-57B0-D31F-C3CECF82F780}"/>
              </a:ext>
            </a:extLst>
          </p:cNvPr>
          <p:cNvSpPr/>
          <p:nvPr/>
        </p:nvSpPr>
        <p:spPr>
          <a:xfrm>
            <a:off x="1025750" y="450216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C4534C39-55FF-3A52-ACCF-7AF85893A6B2}"/>
              </a:ext>
            </a:extLst>
          </p:cNvPr>
          <p:cNvSpPr/>
          <p:nvPr/>
        </p:nvSpPr>
        <p:spPr>
          <a:xfrm>
            <a:off x="1025750" y="2577407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0EC01E57-503B-53BC-217C-6AD55C8563BF}"/>
              </a:ext>
            </a:extLst>
          </p:cNvPr>
          <p:cNvSpPr/>
          <p:nvPr/>
        </p:nvSpPr>
        <p:spPr>
          <a:xfrm>
            <a:off x="1615954" y="1829431"/>
            <a:ext cx="2597187" cy="692753"/>
          </a:xfrm>
          <a:prstGeom prst="roundRect">
            <a:avLst>
              <a:gd name="adj" fmla="val 7179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öhere Ausgaben in Forschung und Entwicklung führen zu größerem Forschungserfolg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74FE978D-F1C4-54FA-AE3E-3BBA7BD2DF80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C0A7425F-CEA3-FEC1-5BD1-5C5A27C41189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feld 60">
            <a:extLst>
              <a:ext uri="{FF2B5EF4-FFF2-40B4-BE49-F238E27FC236}">
                <a16:creationId xmlns:a16="http://schemas.microsoft.com/office/drawing/2014/main" id="{99B1A6A2-EE06-012F-2762-6EB3E96741BA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0B5E0E63-5346-5590-9948-2A7932F4AD69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7C03CE86-7ADE-48C3-6332-0F0B82F20291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438D608F-8BE5-F30C-BEA1-BE66C2AAD845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79" name="Freeform 26">
                <a:extLst>
                  <a:ext uri="{FF2B5EF4-FFF2-40B4-BE49-F238E27FC236}">
                    <a16:creationId xmlns:a16="http://schemas.microsoft.com/office/drawing/2014/main" id="{8D8194B0-8B53-019B-53D9-19A77532E4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ie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häng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ie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vestiert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orschungsgeld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zahl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eröffentlicht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Paper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usamm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eitreihenanaly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von 2000-2023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Jährlich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vestiert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orschungsgeld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und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zahl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eröffentlicht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Paper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orschungsgeld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 Mio. €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zahl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eröffentlicht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Pap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ls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Parameter</a:t>
                </a:r>
              </a:p>
            </p:txBody>
          </p:sp>
          <p:grpSp>
            <p:nvGrpSpPr>
              <p:cNvPr id="80" name="Group 23">
                <a:extLst>
                  <a:ext uri="{FF2B5EF4-FFF2-40B4-BE49-F238E27FC236}">
                    <a16:creationId xmlns:a16="http://schemas.microsoft.com/office/drawing/2014/main" id="{776FA0D4-FA59-791A-A4FF-449ECC65728C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83" name="Oval 24">
                  <a:extLst>
                    <a:ext uri="{FF2B5EF4-FFF2-40B4-BE49-F238E27FC236}">
                      <a16:creationId xmlns:a16="http://schemas.microsoft.com/office/drawing/2014/main" id="{2E69531E-48D6-52A6-54D0-627E7D921408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Arc 25">
                  <a:extLst>
                    <a:ext uri="{FF2B5EF4-FFF2-40B4-BE49-F238E27FC236}">
                      <a16:creationId xmlns:a16="http://schemas.microsoft.com/office/drawing/2014/main" id="{B2123FAE-6EB7-61F5-EFD3-6826A4A9F4EC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577393A9-E585-F5D9-EA0E-AC66F4952199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E139D3A9-A710-3DFF-34A8-BD6657DBAD35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A5647EF7-7C65-676D-53D0-F7AF37886F2A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77" name="Ellipse 76">
                <a:extLst>
                  <a:ext uri="{FF2B5EF4-FFF2-40B4-BE49-F238E27FC236}">
                    <a16:creationId xmlns:a16="http://schemas.microsoft.com/office/drawing/2014/main" id="{DD4F2A51-671B-A458-7A03-35D6A3FEAE00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78" name="Grafik 77">
                <a:extLst>
                  <a:ext uri="{FF2B5EF4-FFF2-40B4-BE49-F238E27FC236}">
                    <a16:creationId xmlns:a16="http://schemas.microsoft.com/office/drawing/2014/main" id="{D648EDAC-0A1E-E7A3-F91E-6C5B427B7A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05C1D917-6F7A-1CFD-19A2-02F3D7EAD2F5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CBAF307-80C7-C2A8-02D9-DFB25C50D37F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4774850" y="1825536"/>
            <a:chExt cx="6469413" cy="4268473"/>
          </a:xfrm>
        </p:grpSpPr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50C0C22E-02B0-CDE6-BF21-05B0BB9285D3}"/>
                </a:ext>
              </a:extLst>
            </p:cNvPr>
            <p:cNvSpPr/>
            <p:nvPr/>
          </p:nvSpPr>
          <p:spPr>
            <a:xfrm>
              <a:off x="4774850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2961981B-AEEB-E60F-FEB7-262C4DB03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4793958" y="2190471"/>
              <a:ext cx="6431195" cy="35386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4901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0.0004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653B-CBC7-407D-A119-E174B9171F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B32B4E-82D3-EB48-9B6D-EE9709B41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D95B93-1C76-7472-A08B-61EC9F566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960F93-C7F8-2F03-4414-40551D48F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09C7DCB9-6F2A-C4F1-1000-072C409A05A6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DEE59C7-7CD5-01A6-2B95-BB69EF5C45F6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0353844D-A3DB-F981-27F0-F68D77BDEF17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EB7CF6EC-016E-27EF-DD05-C468982835A5}"/>
              </a:ext>
            </a:extLst>
          </p:cNvPr>
          <p:cNvSpPr/>
          <p:nvPr/>
        </p:nvSpPr>
        <p:spPr>
          <a:xfrm>
            <a:off x="1025749" y="332239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3B76FA25-E5FE-BC6E-4F61-C59F44A90823}"/>
              </a:ext>
            </a:extLst>
          </p:cNvPr>
          <p:cNvSpPr/>
          <p:nvPr/>
        </p:nvSpPr>
        <p:spPr>
          <a:xfrm>
            <a:off x="1025749" y="370734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1F4C0DC9-B4BA-1E83-9CA0-7E12BDDA3942}"/>
              </a:ext>
            </a:extLst>
          </p:cNvPr>
          <p:cNvSpPr/>
          <p:nvPr/>
        </p:nvSpPr>
        <p:spPr>
          <a:xfrm>
            <a:off x="1025749" y="4092294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7B7D6099-9BBE-55BC-4488-CCFA6A08340A}"/>
              </a:ext>
            </a:extLst>
          </p:cNvPr>
          <p:cNvSpPr/>
          <p:nvPr/>
        </p:nvSpPr>
        <p:spPr>
          <a:xfrm>
            <a:off x="1025749" y="4477245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53E52E99-77AC-6F92-F856-22BDF2AC517E}"/>
              </a:ext>
            </a:extLst>
          </p:cNvPr>
          <p:cNvSpPr/>
          <p:nvPr/>
        </p:nvSpPr>
        <p:spPr>
          <a:xfrm>
            <a:off x="1025749" y="4862197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C18A1CE-9F57-85A3-0CF2-C2BDDB7AC394}"/>
              </a:ext>
            </a:extLst>
          </p:cNvPr>
          <p:cNvSpPr/>
          <p:nvPr/>
        </p:nvSpPr>
        <p:spPr>
          <a:xfrm>
            <a:off x="1025749" y="2224561"/>
            <a:ext cx="540000" cy="1050563"/>
          </a:xfrm>
          <a:prstGeom prst="roundRect">
            <a:avLst>
              <a:gd name="adj" fmla="val 10247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E884FF27-3DA7-370A-1C5C-FD52501C2CD4}"/>
              </a:ext>
            </a:extLst>
          </p:cNvPr>
          <p:cNvSpPr/>
          <p:nvPr/>
        </p:nvSpPr>
        <p:spPr>
          <a:xfrm>
            <a:off x="1612525" y="2224561"/>
            <a:ext cx="2597187" cy="1050563"/>
          </a:xfrm>
          <a:prstGeom prst="roundRect">
            <a:avLst>
              <a:gd name="adj" fmla="val 5116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 den westlichen Mitgliedstaaten der europäischen Union zeigen die eingesetzten Forschungsgelder einen höheren Wirkungsgrad in Bezug auf den Forschungserfolg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1594CFA-9E93-C68E-EBA0-49BA76DB3050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D03FC82-A895-B522-DD95-B2EC54505854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22C0389C-B143-06D8-24A7-BBF902BE40E4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CB2D5487-2097-CDF3-7600-3F390AC7FAB7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924F9AF-2080-089C-7BDC-478AE5EF2BFC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C0309D7-1A97-7956-DAEA-157771833F89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71F3C5A0-2D65-85E6-52E2-D742D3B967EC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30BC89D7-52B3-076F-8CD2-DCF328A48A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elch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Länder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önnt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inanziell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örderung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potenziell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ffektiv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sein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ffizienzanaly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orschung EU-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gliedsstaat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Untersuch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s Relation von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vestiert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orschungsgeld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eröffentlicht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Paper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fü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jedes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Land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kal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rgebnis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auf Paper pro Mio. €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isualis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ert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auf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EU-Heatmap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urch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jeweilig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färbung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 23">
                <a:extLst>
                  <a:ext uri="{FF2B5EF4-FFF2-40B4-BE49-F238E27FC236}">
                    <a16:creationId xmlns:a16="http://schemas.microsoft.com/office/drawing/2014/main" id="{BAC5D576-DD13-A87B-0335-D3AE5DD876BB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21" name="Oval 24">
                  <a:extLst>
                    <a:ext uri="{FF2B5EF4-FFF2-40B4-BE49-F238E27FC236}">
                      <a16:creationId xmlns:a16="http://schemas.microsoft.com/office/drawing/2014/main" id="{91B886A7-7F5A-2425-C5CF-05A8DD44D2A7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Arc 25">
                  <a:extLst>
                    <a:ext uri="{FF2B5EF4-FFF2-40B4-BE49-F238E27FC236}">
                      <a16:creationId xmlns:a16="http://schemas.microsoft.com/office/drawing/2014/main" id="{D776BB0B-E4FA-35A1-92CD-CD0BDB0C409F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E9432983-3742-6C93-50AF-8AE902E629AB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69F21669-8269-DDEE-3854-F2273CE78904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58783F29-D6F6-A17C-E54F-96142DB6635D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264CF030-3458-FEFB-21E7-A8B6F89A5187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FC872FF7-783E-3621-FFAE-013B40C955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746CA81A-FD2B-FCDA-AC2C-DC45305E0800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0DF9361A-08B4-42C6-E7A5-E905BC309C35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6FFFFEE-D67A-8CC6-93C4-1B80636C5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526551" y="1915228"/>
              <a:ext cx="6133632" cy="40890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00463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0.00023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A24E4-00E1-57BD-4755-313EA6CB6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F2F61C-386E-E027-27A2-D7D914ADA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486D3EE-7A22-0254-5AE4-8B70D2664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41603F-9996-700F-DCD0-567B2077C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A47E4833-A87C-F822-A62B-F55451C9B242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D897933-1F0C-75A2-AC9B-612BFB8C50B7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EDD1D37E-DA82-A78D-3749-7E4AB17D993F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824F601C-FF88-15BA-3F3F-FBDC8CC458E0}"/>
              </a:ext>
            </a:extLst>
          </p:cNvPr>
          <p:cNvSpPr/>
          <p:nvPr/>
        </p:nvSpPr>
        <p:spPr>
          <a:xfrm>
            <a:off x="1025750" y="2609512"/>
            <a:ext cx="540000" cy="658425"/>
          </a:xfrm>
          <a:prstGeom prst="roundRect">
            <a:avLst>
              <a:gd name="adj" fmla="val 8642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C5F8E631-73C6-DBA5-5F2B-4A7A6541846A}"/>
              </a:ext>
            </a:extLst>
          </p:cNvPr>
          <p:cNvSpPr/>
          <p:nvPr/>
        </p:nvSpPr>
        <p:spPr>
          <a:xfrm>
            <a:off x="1025749" y="3315205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6933DC3-857D-BD45-6E89-74D70EE3EE56}"/>
              </a:ext>
            </a:extLst>
          </p:cNvPr>
          <p:cNvSpPr/>
          <p:nvPr/>
        </p:nvSpPr>
        <p:spPr>
          <a:xfrm>
            <a:off x="1025749" y="3700156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E12FDDB5-0D56-A559-6DE9-371AFA1C5609}"/>
              </a:ext>
            </a:extLst>
          </p:cNvPr>
          <p:cNvSpPr/>
          <p:nvPr/>
        </p:nvSpPr>
        <p:spPr>
          <a:xfrm>
            <a:off x="1025749" y="4085107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7FD99CA3-AF03-16F7-E692-AB45A53CF98A}"/>
              </a:ext>
            </a:extLst>
          </p:cNvPr>
          <p:cNvSpPr/>
          <p:nvPr/>
        </p:nvSpPr>
        <p:spPr>
          <a:xfrm>
            <a:off x="1025749" y="4470059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38FF025-EA97-321E-6CAF-BEF8AD259D01}"/>
              </a:ext>
            </a:extLst>
          </p:cNvPr>
          <p:cNvSpPr/>
          <p:nvPr/>
        </p:nvSpPr>
        <p:spPr>
          <a:xfrm>
            <a:off x="1025750" y="222456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C0295984-F884-64D5-7A81-CAACED708C7E}"/>
              </a:ext>
            </a:extLst>
          </p:cNvPr>
          <p:cNvSpPr/>
          <p:nvPr/>
        </p:nvSpPr>
        <p:spPr>
          <a:xfrm>
            <a:off x="1612529" y="2609513"/>
            <a:ext cx="2597187" cy="658425"/>
          </a:xfrm>
          <a:prstGeom prst="roundRect">
            <a:avLst>
              <a:gd name="adj" fmla="val 7179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lite-Institutionen erzeugen Ergebnisse, welche einen größeren Forschungserfolg verzeichnen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69B5807-D3A1-BC65-997F-02A957FC641D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184E841B-D1B0-826C-2271-E7DD2E25E42C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687A7D0-9ED3-C1BE-F65C-CD80BF9AD052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3E630382-92B3-DD06-ADA7-99655284D653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9A61D79-7775-A6BB-D476-AF8FE2750B43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C1588AC-F285-50BC-34B6-FE1F718929AF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6CF736F-9888-3E6B-0EFB-35FED5CBB535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D0FE05BA-28EA-CF10-24C4-184CC4AB4E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ie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ffektiv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önnt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ezielt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inanziell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örderung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stimmt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sein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uswahl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ig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Elite-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us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Universitätsrankings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ifferenz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Pap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hand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teiligt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ammel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WCI-Scores der Paper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ener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ichtevertei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WCI-Scores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 Violin-Chart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 23">
                <a:extLst>
                  <a:ext uri="{FF2B5EF4-FFF2-40B4-BE49-F238E27FC236}">
                    <a16:creationId xmlns:a16="http://schemas.microsoft.com/office/drawing/2014/main" id="{92822CE8-F74D-6B62-F164-B41D9FFF1A9E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21" name="Oval 24">
                  <a:extLst>
                    <a:ext uri="{FF2B5EF4-FFF2-40B4-BE49-F238E27FC236}">
                      <a16:creationId xmlns:a16="http://schemas.microsoft.com/office/drawing/2014/main" id="{6AA72A7E-9F4F-10FC-BD4B-18B5737285BD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Arc 25">
                  <a:extLst>
                    <a:ext uri="{FF2B5EF4-FFF2-40B4-BE49-F238E27FC236}">
                      <a16:creationId xmlns:a16="http://schemas.microsoft.com/office/drawing/2014/main" id="{67BF9FCF-05B5-DD41-04AF-2179DAF8B65C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034222EA-09D1-0B41-3E0A-F7993CDE4D91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B0D6D491-91EC-26C4-83A2-BC491C875D5B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8F2AAF1E-D48B-3D4D-D9AC-144E8CC84A76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77EC6A79-4AB4-2E2B-F542-0C21773B3D50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410B6683-C7F5-0347-9688-01309D9F1A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2F78E59F-BB30-1C10-C476-FC0B02A2D430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A7A648B8-3BB8-AF91-AF56-58B17C0989FD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B4A67B47-ACB9-B8A9-DD68-C10409CCD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610975" y="1980216"/>
              <a:ext cx="5964783" cy="39591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3799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4.81481E-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9DD8E-DFA0-5247-165C-F5D3077A4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4BB4A0-7E07-E3CC-11C7-C0755777A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74D01C-EAE7-27C5-D1D0-C9B51377C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46166D-A6E4-9719-1DC8-39A7645E5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E8615759-E53E-EB22-E6AE-05180B802D78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3B2342C-0E8B-003A-90A9-0979C352B050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163A7E4-7877-81BB-CD61-DE5B4B2EFBBB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E4C6AE4F-F108-602C-7F29-9984D6BDCE8B}"/>
              </a:ext>
            </a:extLst>
          </p:cNvPr>
          <p:cNvSpPr/>
          <p:nvPr/>
        </p:nvSpPr>
        <p:spPr>
          <a:xfrm>
            <a:off x="1025750" y="260951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8B405E71-231D-0FC8-C526-7B1A5C7418F4}"/>
              </a:ext>
            </a:extLst>
          </p:cNvPr>
          <p:cNvSpPr/>
          <p:nvPr/>
        </p:nvSpPr>
        <p:spPr>
          <a:xfrm>
            <a:off x="1025750" y="2994463"/>
            <a:ext cx="540000" cy="658426"/>
          </a:xfrm>
          <a:prstGeom prst="roundRect">
            <a:avLst>
              <a:gd name="adj" fmla="val 7839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17BED08A-1516-C261-6FDE-E2AE67B09A63}"/>
              </a:ext>
            </a:extLst>
          </p:cNvPr>
          <p:cNvSpPr/>
          <p:nvPr/>
        </p:nvSpPr>
        <p:spPr>
          <a:xfrm>
            <a:off x="1025749" y="3700157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330081DA-BF9E-9ED4-36EC-346824AC1F3D}"/>
              </a:ext>
            </a:extLst>
          </p:cNvPr>
          <p:cNvSpPr/>
          <p:nvPr/>
        </p:nvSpPr>
        <p:spPr>
          <a:xfrm>
            <a:off x="1025749" y="4085108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973364E6-7479-CAC2-A782-AD453D6DE290}"/>
              </a:ext>
            </a:extLst>
          </p:cNvPr>
          <p:cNvSpPr/>
          <p:nvPr/>
        </p:nvSpPr>
        <p:spPr>
          <a:xfrm>
            <a:off x="1025749" y="447006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70B9F13-18C7-C574-8212-C2CEA036F675}"/>
              </a:ext>
            </a:extLst>
          </p:cNvPr>
          <p:cNvSpPr/>
          <p:nvPr/>
        </p:nvSpPr>
        <p:spPr>
          <a:xfrm>
            <a:off x="1025750" y="222456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C3A90EC5-1571-B4B0-6DBC-8C4245B4D3D9}"/>
              </a:ext>
            </a:extLst>
          </p:cNvPr>
          <p:cNvSpPr/>
          <p:nvPr/>
        </p:nvSpPr>
        <p:spPr>
          <a:xfrm>
            <a:off x="1612529" y="2994462"/>
            <a:ext cx="2597187" cy="658427"/>
          </a:xfrm>
          <a:prstGeom prst="roundRect">
            <a:avLst>
              <a:gd name="adj" fmla="val 7179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r Forschungserfolg nimmt mit einer größeren Anzahl an beteiligten Institutionen zu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F2707CBA-8891-4A60-55A2-FDB8D61ABB20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FFC80C7-81E7-B7AE-5630-E44512D5AE9A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D89B2EE-CFB4-A94E-EB7A-782B15C39E5F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6877C1DA-651D-6AAF-E8BE-8FC4E06621D4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9525932-6427-3A3D-5224-858B98A97A94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E0B58FB-647F-0761-1B95-6D55A6C264FE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C05D7EF6-00A9-3382-A6D5-EC0BE9AFF221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2FE8FE9E-595E-9AFF-A24D-DF7898A06E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ntsteh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sser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rgebniss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en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rößer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Gruppe von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usammenarbeitet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aly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ruppier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Pap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nach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zahl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teiligt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unterschiedlich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ammel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FWCI-Scores der Paper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rechn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s Median FWCI-Scores der Paper pro Gruppe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 Bubble-Chart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 23">
                <a:extLst>
                  <a:ext uri="{FF2B5EF4-FFF2-40B4-BE49-F238E27FC236}">
                    <a16:creationId xmlns:a16="http://schemas.microsoft.com/office/drawing/2014/main" id="{22E27641-5C9B-7330-BF01-B6EC9E27F372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21" name="Oval 24">
                  <a:extLst>
                    <a:ext uri="{FF2B5EF4-FFF2-40B4-BE49-F238E27FC236}">
                      <a16:creationId xmlns:a16="http://schemas.microsoft.com/office/drawing/2014/main" id="{F70AEE80-FCFF-9132-3493-CEFB7E11DA35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Arc 25">
                  <a:extLst>
                    <a:ext uri="{FF2B5EF4-FFF2-40B4-BE49-F238E27FC236}">
                      <a16:creationId xmlns:a16="http://schemas.microsoft.com/office/drawing/2014/main" id="{A0272343-CB56-7D32-647D-62B9EDA3288E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B34078F3-6504-C135-1167-B86424B48E03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0FD7ACDA-DE77-048F-64BA-A96F88B2F48B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29A7A3E9-7464-9541-7A22-769CB6C69CB0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23B15844-28AE-5BC0-A8B2-381574F85D64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A8351106-2B90-CAE2-6282-C9429DD203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7D64D352-BFBE-04FD-F2C3-2A3896EF552E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36EC4411-5A4C-9771-6727-78D652A584A3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187FCBC5-AA7A-4256-3007-9B441D8A3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2455719" y="2177293"/>
              <a:ext cx="6275294" cy="35657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6826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4.81481E-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916A07-EC4B-B3BF-A642-2BEBD1F9D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3F5D85-6795-1E38-0274-946AC4AEC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BCB9C0-4E26-D3C9-39AF-7BCC18535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CC890E-0704-CE34-DB78-34DD7045B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66E5F9AC-0311-66E6-2AC9-BBAC9AFAE10F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3A1CFAB-BA36-8810-5BA3-63E82581E38C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9DCBAA0E-2396-DD5A-F903-0A4E9DF2D5DE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5715F61-324B-4825-1271-CEE68D4DC3E6}"/>
              </a:ext>
            </a:extLst>
          </p:cNvPr>
          <p:cNvSpPr/>
          <p:nvPr/>
        </p:nvSpPr>
        <p:spPr>
          <a:xfrm>
            <a:off x="1025750" y="260951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6F1AB48-0363-80A7-DC62-725FD4B3796C}"/>
              </a:ext>
            </a:extLst>
          </p:cNvPr>
          <p:cNvSpPr/>
          <p:nvPr/>
        </p:nvSpPr>
        <p:spPr>
          <a:xfrm>
            <a:off x="1025750" y="299446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22A40ACA-700C-2FCC-1C3E-EF04C5FC8F2F}"/>
              </a:ext>
            </a:extLst>
          </p:cNvPr>
          <p:cNvSpPr/>
          <p:nvPr/>
        </p:nvSpPr>
        <p:spPr>
          <a:xfrm>
            <a:off x="1025750" y="3379414"/>
            <a:ext cx="540000" cy="1006239"/>
          </a:xfrm>
          <a:prstGeom prst="roundRect">
            <a:avLst/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305788E6-69E1-BE4A-3C9F-471A86B18F92}"/>
              </a:ext>
            </a:extLst>
          </p:cNvPr>
          <p:cNvSpPr/>
          <p:nvPr/>
        </p:nvSpPr>
        <p:spPr>
          <a:xfrm>
            <a:off x="1025749" y="443292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573C6E16-FB01-1FC5-F390-4899FB5E9D88}"/>
              </a:ext>
            </a:extLst>
          </p:cNvPr>
          <p:cNvSpPr/>
          <p:nvPr/>
        </p:nvSpPr>
        <p:spPr>
          <a:xfrm>
            <a:off x="1025749" y="481787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08F39827-4CD1-CB43-6A7D-A43D3BA90576}"/>
              </a:ext>
            </a:extLst>
          </p:cNvPr>
          <p:cNvSpPr/>
          <p:nvPr/>
        </p:nvSpPr>
        <p:spPr>
          <a:xfrm>
            <a:off x="1025750" y="222456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269391D5-AD83-F979-717B-3D863CDD24D0}"/>
              </a:ext>
            </a:extLst>
          </p:cNvPr>
          <p:cNvSpPr/>
          <p:nvPr/>
        </p:nvSpPr>
        <p:spPr>
          <a:xfrm>
            <a:off x="1612529" y="3379414"/>
            <a:ext cx="2597187" cy="1006239"/>
          </a:xfrm>
          <a:prstGeom prst="roundRect">
            <a:avLst>
              <a:gd name="adj" fmla="val 6748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änder mit einem größeren und aktiveren Kooperationsnetzwerk zwischen Forschungseinrichtungen haben einen größeren Forschungs-erfolg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2F23D4B8-5DD3-F07F-1D2D-9ED2B0DF8065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57687504-466E-00DD-172B-778FFFACBC68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E79DBD4-94CD-513F-4AEE-AB14EFE0BF2B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BBD1E511-DBAE-468A-BD1E-289BE64C609C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C593DC7-36A9-C17C-9A13-066803FD39E8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1AD260-03B9-B6CE-B1D7-FDBEAF10ED1E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12C1C4F-4507-1B9B-3AC6-D2AC7278558D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47917CB6-881F-0B84-8006-EF9EDEEFA2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är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ezielt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Förderung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von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ration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wisch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sinnvoll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naly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Paper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ählu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ration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hr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ar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auf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r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EU-Karte in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em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Graphennetzwerk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Berechn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von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entralitäts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-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Nachbarschaftsmetrik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färb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Län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nach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m Median der FWCI-Scores der </a:t>
                </a:r>
                <a:b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Paper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 23">
                <a:extLst>
                  <a:ext uri="{FF2B5EF4-FFF2-40B4-BE49-F238E27FC236}">
                    <a16:creationId xmlns:a16="http://schemas.microsoft.com/office/drawing/2014/main" id="{9C4101AE-8F25-4186-7DB6-7A60C2847CE8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21" name="Oval 24">
                  <a:extLst>
                    <a:ext uri="{FF2B5EF4-FFF2-40B4-BE49-F238E27FC236}">
                      <a16:creationId xmlns:a16="http://schemas.microsoft.com/office/drawing/2014/main" id="{EB9F4ABA-6D14-4AB0-11F3-B4D257670E05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Arc 25">
                  <a:extLst>
                    <a:ext uri="{FF2B5EF4-FFF2-40B4-BE49-F238E27FC236}">
                      <a16:creationId xmlns:a16="http://schemas.microsoft.com/office/drawing/2014/main" id="{19CFDEC8-61A0-C89D-5983-F70DD67404BA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4A769644-98C8-6E97-D97D-E1853B9B3F2F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345FEA25-DF83-4177-F6BA-E17498EBCA37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A253941E-FB03-2C60-5FDD-39B6E736A18E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D4404358-9B1E-BF3C-9FCC-59A0C09B451E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50D1B024-3C33-3EBE-D71D-D3130EDC76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C46D3B8-3F0F-B74E-52E7-BC2A8C5BC37E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1CBA7B18-F9F6-EE47-E5FF-81EBA2852484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F3685054-B78A-1A2C-361F-5035DDAE2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57042" y="2082363"/>
              <a:ext cx="6272650" cy="37548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7975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4.81481E-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33FBE-DA40-84E7-6473-33DBC2FD50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8192FD-B971-1E12-D4EE-074143C61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nnerstag, 10. Jul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B72936-9C95-411E-EDA3-BE02B9A7B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jektrealisierung | ResearchGrid EU (Gruppe 4) | ID: 004-RG-EU-2025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36DCEC-72B7-FA1A-92E9-962D46F89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8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08D6BBE5-9E2B-4CF7-E39C-862AF4471875}"/>
              </a:ext>
            </a:extLst>
          </p:cNvPr>
          <p:cNvSpPr txBox="1">
            <a:spLocks/>
          </p:cNvSpPr>
          <p:nvPr/>
        </p:nvSpPr>
        <p:spPr>
          <a:xfrm>
            <a:off x="838200" y="730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j-ea"/>
                <a:cs typeface="+mj-cs"/>
              </a:rPr>
              <a:t>Bewertung der Hypoth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4AA194E-CF58-3925-9D9B-B56326B5E876}"/>
              </a:ext>
            </a:extLst>
          </p:cNvPr>
          <p:cNvSpPr txBox="1"/>
          <p:nvPr/>
        </p:nvSpPr>
        <p:spPr>
          <a:xfrm>
            <a:off x="1025749" y="1429761"/>
            <a:ext cx="318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ypothesenübersicht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9450815E-9151-EC2E-332A-5AE5069E689D}"/>
              </a:ext>
            </a:extLst>
          </p:cNvPr>
          <p:cNvSpPr/>
          <p:nvPr/>
        </p:nvSpPr>
        <p:spPr>
          <a:xfrm>
            <a:off x="1025750" y="1839610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C8F68CB0-30CA-F1E4-BD2E-4A88E94855BD}"/>
              </a:ext>
            </a:extLst>
          </p:cNvPr>
          <p:cNvSpPr/>
          <p:nvPr/>
        </p:nvSpPr>
        <p:spPr>
          <a:xfrm>
            <a:off x="1025750" y="2609512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346D9AE2-84D9-7F16-C1E6-E9B01A4BA434}"/>
              </a:ext>
            </a:extLst>
          </p:cNvPr>
          <p:cNvSpPr/>
          <p:nvPr/>
        </p:nvSpPr>
        <p:spPr>
          <a:xfrm>
            <a:off x="1025750" y="2994463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493A3026-7F1D-B727-326A-5783D3734468}"/>
              </a:ext>
            </a:extLst>
          </p:cNvPr>
          <p:cNvSpPr/>
          <p:nvPr/>
        </p:nvSpPr>
        <p:spPr>
          <a:xfrm>
            <a:off x="1025750" y="3379414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3736AC74-7ACE-DC7C-EC84-C3EC297F0B4B}"/>
              </a:ext>
            </a:extLst>
          </p:cNvPr>
          <p:cNvSpPr/>
          <p:nvPr/>
        </p:nvSpPr>
        <p:spPr>
          <a:xfrm>
            <a:off x="1025750" y="3764365"/>
            <a:ext cx="540000" cy="1223665"/>
          </a:xfrm>
          <a:prstGeom prst="roundRect">
            <a:avLst>
              <a:gd name="adj" fmla="val 10247"/>
            </a:avLst>
          </a:prstGeom>
          <a:solidFill>
            <a:srgbClr val="FFC620"/>
          </a:solidFill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7761D729-45CF-5C9A-F9BC-349E1D8ABD72}"/>
              </a:ext>
            </a:extLst>
          </p:cNvPr>
          <p:cNvSpPr/>
          <p:nvPr/>
        </p:nvSpPr>
        <p:spPr>
          <a:xfrm>
            <a:off x="1025750" y="5035298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AE543F4-CBCE-00D6-26F3-EBC6506BDD23}"/>
              </a:ext>
            </a:extLst>
          </p:cNvPr>
          <p:cNvSpPr/>
          <p:nvPr/>
        </p:nvSpPr>
        <p:spPr>
          <a:xfrm>
            <a:off x="1025750" y="2224561"/>
            <a:ext cx="540000" cy="33768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47374DDA-F2DA-B413-ABFC-D4602D0371A3}"/>
              </a:ext>
            </a:extLst>
          </p:cNvPr>
          <p:cNvSpPr/>
          <p:nvPr/>
        </p:nvSpPr>
        <p:spPr>
          <a:xfrm>
            <a:off x="1612529" y="3760961"/>
            <a:ext cx="2597187" cy="1227069"/>
          </a:xfrm>
          <a:prstGeom prst="roundRect">
            <a:avLst>
              <a:gd name="adj" fmla="val 4707"/>
            </a:avLst>
          </a:prstGeom>
          <a:noFill/>
          <a:ln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363" algn="l"/>
              </a:tabLst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änder mit häufigeren Kooperationen zwischen Forschungsinstitutionen und Wirtschaftsunternehmen verzeichnen einen größeren Forschungserfolg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379100A-C319-0CC9-EE33-96DE605688A6}"/>
              </a:ext>
            </a:extLst>
          </p:cNvPr>
          <p:cNvCxnSpPr>
            <a:cxnSpLocks/>
          </p:cNvCxnSpPr>
          <p:nvPr/>
        </p:nvCxnSpPr>
        <p:spPr>
          <a:xfrm>
            <a:off x="4468596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D30B86D1-FCAF-023E-2268-F922495DD7A9}"/>
              </a:ext>
            </a:extLst>
          </p:cNvPr>
          <p:cNvCxnSpPr>
            <a:cxnSpLocks/>
          </p:cNvCxnSpPr>
          <p:nvPr/>
        </p:nvCxnSpPr>
        <p:spPr>
          <a:xfrm>
            <a:off x="4523630" y="1449388"/>
            <a:ext cx="0" cy="4644622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B48BE91-3DFD-2FD1-391B-195DE117D297}"/>
              </a:ext>
            </a:extLst>
          </p:cNvPr>
          <p:cNvCxnSpPr>
            <a:cxnSpLocks/>
          </p:cNvCxnSpPr>
          <p:nvPr/>
        </p:nvCxnSpPr>
        <p:spPr>
          <a:xfrm>
            <a:off x="8014435" y="1449388"/>
            <a:ext cx="0" cy="4644622"/>
          </a:xfrm>
          <a:prstGeom prst="line">
            <a:avLst/>
          </a:prstGeom>
          <a:ln>
            <a:solidFill>
              <a:srgbClr val="FFC620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01E30B37-5AF1-4096-75AD-2CA4A24F429F}"/>
              </a:ext>
            </a:extLst>
          </p:cNvPr>
          <p:cNvSpPr txBox="1"/>
          <p:nvPr/>
        </p:nvSpPr>
        <p:spPr>
          <a:xfrm>
            <a:off x="4774850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mäßige Um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DDE1789-0A63-47EC-A03C-6801EE543662}"/>
              </a:ext>
            </a:extLst>
          </p:cNvPr>
          <p:cNvSpPr txBox="1"/>
          <p:nvPr/>
        </p:nvSpPr>
        <p:spPr>
          <a:xfrm>
            <a:off x="8204095" y="1425427"/>
            <a:ext cx="3041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small" spc="0" normalizeH="0" baseline="0" noProof="0" dirty="0">
                <a:ln>
                  <a:noFill/>
                </a:ln>
                <a:solidFill>
                  <a:srgbClr val="3A3A3A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atsächliche Umsetz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B7FBED2-6E56-D5B0-6ACB-E2CE35956471}"/>
              </a:ext>
            </a:extLst>
          </p:cNvPr>
          <p:cNvGrpSpPr/>
          <p:nvPr/>
        </p:nvGrpSpPr>
        <p:grpSpPr>
          <a:xfrm>
            <a:off x="4774850" y="1825537"/>
            <a:ext cx="3134709" cy="4375153"/>
            <a:chOff x="4774850" y="1825537"/>
            <a:chExt cx="3134709" cy="4375153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C1A0440B-B8E9-AE93-782C-B522D877115D}"/>
                </a:ext>
              </a:extLst>
            </p:cNvPr>
            <p:cNvGrpSpPr/>
            <p:nvPr/>
          </p:nvGrpSpPr>
          <p:grpSpPr>
            <a:xfrm>
              <a:off x="4774850" y="1825537"/>
              <a:ext cx="3134709" cy="4375153"/>
              <a:chOff x="4774850" y="1825537"/>
              <a:chExt cx="3134709" cy="4375153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5DA1B576-E224-D761-AB04-A0EDEDAE5C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4850" y="1825537"/>
                <a:ext cx="3041003" cy="4268473"/>
              </a:xfrm>
              <a:prstGeom prst="round2DiagRect">
                <a:avLst>
                  <a:gd name="adj1" fmla="val 8632"/>
                  <a:gd name="adj2" fmla="val 0"/>
                </a:avLst>
              </a:prstGeom>
              <a:solidFill>
                <a:sysClr val="window" lastClr="FFFFFF"/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91440" tIns="182880" rIns="0" bIns="9144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ann die Forschung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einzelner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Länder von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vermehrt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ration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it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Industrie </a:t>
                </a:r>
                <a:r>
                  <a:rPr kumimoji="0" lang="en-US" sz="13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profitieren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?</a:t>
                </a:r>
              </a:p>
              <a:p>
                <a:pPr marL="0" marR="0" lvl="0" indent="0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Ähnlich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Methodik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wi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Hypothese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5</a:t>
                </a: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  <a:p>
                <a:pPr marL="171299" marR="0" lvl="0" indent="-171299" algn="l" defTabSz="9136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Unterscheid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der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Darstellung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von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Kooperation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ausschließlich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zwischen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Industrie- und 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Nicht</a:t>
                </a: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-Industrie-</a:t>
                </a:r>
                <a:r>
                  <a:rPr kumimoji="0" lang="en-US" sz="13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Institutionen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8" name="Group 23">
                <a:extLst>
                  <a:ext uri="{FF2B5EF4-FFF2-40B4-BE49-F238E27FC236}">
                    <a16:creationId xmlns:a16="http://schemas.microsoft.com/office/drawing/2014/main" id="{2EF432B6-3C40-8405-824B-36134578AB54}"/>
                  </a:ext>
                </a:extLst>
              </p:cNvPr>
              <p:cNvGrpSpPr/>
              <p:nvPr/>
            </p:nvGrpSpPr>
            <p:grpSpPr>
              <a:xfrm>
                <a:off x="6934118" y="5216186"/>
                <a:ext cx="881735" cy="877825"/>
                <a:chOff x="2616467" y="5484875"/>
                <a:chExt cx="881735" cy="877825"/>
              </a:xfrm>
            </p:grpSpPr>
            <p:sp>
              <p:nvSpPr>
                <p:cNvPr id="21" name="Oval 24">
                  <a:extLst>
                    <a:ext uri="{FF2B5EF4-FFF2-40B4-BE49-F238E27FC236}">
                      <a16:creationId xmlns:a16="http://schemas.microsoft.com/office/drawing/2014/main" id="{C91C62AC-4DCC-6425-D765-1BC07265D5D3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6"/>
                  <a:ext cx="881735" cy="877824"/>
                </a:xfrm>
                <a:prstGeom prst="ellipse">
                  <a:avLst/>
                </a:pr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Arc 25">
                  <a:extLst>
                    <a:ext uri="{FF2B5EF4-FFF2-40B4-BE49-F238E27FC236}">
                      <a16:creationId xmlns:a16="http://schemas.microsoft.com/office/drawing/2014/main" id="{FA91D565-7080-99B5-F905-3806E1B8512B}"/>
                    </a:ext>
                  </a:extLst>
                </p:cNvPr>
                <p:cNvSpPr/>
                <p:nvPr/>
              </p:nvSpPr>
              <p:spPr bwMode="gray">
                <a:xfrm>
                  <a:off x="2616467" y="5484875"/>
                  <a:ext cx="881735" cy="877824"/>
                </a:xfrm>
                <a:prstGeom prst="arc">
                  <a:avLst>
                    <a:gd name="adj1" fmla="val 5469556"/>
                    <a:gd name="adj2" fmla="val 0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7F7F7F"/>
                  </a:solidFill>
                  <a:miter lim="800000"/>
                  <a:headEnd/>
                  <a:tailEnd/>
                </a:ln>
              </p:spPr>
              <p:txBody>
                <a:bodyPr wrap="square" lIns="91440" tIns="182880" rIns="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76641062-6E77-30AF-83AA-9B3F67EE4B40}"/>
                  </a:ext>
                </a:extLst>
              </p:cNvPr>
              <p:cNvSpPr/>
              <p:nvPr/>
            </p:nvSpPr>
            <p:spPr>
              <a:xfrm>
                <a:off x="7696200" y="5655098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6FDF0684-341C-2526-90A1-03F724806DD5}"/>
                  </a:ext>
                </a:extLst>
              </p:cNvPr>
              <p:cNvSpPr/>
              <p:nvPr/>
            </p:nvSpPr>
            <p:spPr>
              <a:xfrm rot="5400000">
                <a:off x="7513349" y="5848160"/>
                <a:ext cx="213359" cy="4917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C19C4BED-F3E5-0885-0A1F-C9978E1351CB}"/>
                </a:ext>
              </a:extLst>
            </p:cNvPr>
            <p:cNvGrpSpPr/>
            <p:nvPr/>
          </p:nvGrpSpPr>
          <p:grpSpPr>
            <a:xfrm>
              <a:off x="7096562" y="5381498"/>
              <a:ext cx="547200" cy="547200"/>
              <a:chOff x="7006166" y="6983814"/>
              <a:chExt cx="547200" cy="547200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6F576DE6-7755-340D-70B3-C6A15FDDF952}"/>
                  </a:ext>
                </a:extLst>
              </p:cNvPr>
              <p:cNvSpPr/>
              <p:nvPr/>
            </p:nvSpPr>
            <p:spPr>
              <a:xfrm>
                <a:off x="7006166" y="6983814"/>
                <a:ext cx="547200" cy="54720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9C233A0C-270B-8134-557E-74C945AFE4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97966" y="7075614"/>
                <a:ext cx="363600" cy="363600"/>
              </a:xfrm>
              <a:prstGeom prst="rect">
                <a:avLst/>
              </a:prstGeom>
            </p:spPr>
          </p:pic>
        </p:grp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51BCD52-83E3-F7B3-560A-34B58C0972BE}"/>
              </a:ext>
            </a:extLst>
          </p:cNvPr>
          <p:cNvGrpSpPr/>
          <p:nvPr/>
        </p:nvGrpSpPr>
        <p:grpSpPr>
          <a:xfrm>
            <a:off x="12358661" y="1825536"/>
            <a:ext cx="6469413" cy="4268473"/>
            <a:chOff x="12358661" y="1825536"/>
            <a:chExt cx="6469413" cy="4268473"/>
          </a:xfrm>
        </p:grpSpPr>
        <p:sp>
          <p:nvSpPr>
            <p:cNvPr id="33" name="Rechteck: abgerundete Ecken 32">
              <a:extLst>
                <a:ext uri="{FF2B5EF4-FFF2-40B4-BE49-F238E27FC236}">
                  <a16:creationId xmlns:a16="http://schemas.microsoft.com/office/drawing/2014/main" id="{8AFDE2F3-0334-9372-39D6-FBA81C7D36D1}"/>
                </a:ext>
              </a:extLst>
            </p:cNvPr>
            <p:cNvSpPr/>
            <p:nvPr/>
          </p:nvSpPr>
          <p:spPr>
            <a:xfrm>
              <a:off x="12358661" y="1825536"/>
              <a:ext cx="6469413" cy="4268473"/>
            </a:xfrm>
            <a:prstGeom prst="roundRect">
              <a:avLst>
                <a:gd name="adj" fmla="val 6108"/>
              </a:avLst>
            </a:prstGeom>
            <a:solidFill>
              <a:schemeClr val="bg1"/>
            </a:solidFill>
            <a:ln>
              <a:solidFill>
                <a:srgbClr val="3A3A3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6D2A76DB-A5D1-0BC9-1C72-F295B8409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t="2780" b="9879"/>
            <a:stretch/>
          </p:blipFill>
          <p:spPr>
            <a:xfrm>
              <a:off x="13240959" y="1905154"/>
              <a:ext cx="4704815" cy="41092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324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96296E-6 L -0.14037 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18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81481E-6 L -0.62162 -4.81481E-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08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otx" id="{D406F015-C4A6-497A-AC86-E6DDF7021F55}" vid="{ABC6D58B-546C-4A7B-8391-0BA4DD46A26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817</Words>
  <Application>Microsoft Office PowerPoint</Application>
  <PresentationFormat>Breitbild</PresentationFormat>
  <Paragraphs>343</Paragraphs>
  <Slides>17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8" baseType="lpstr">
      <vt:lpstr>Aptos</vt:lpstr>
      <vt:lpstr>Arial</vt:lpstr>
      <vt:lpstr>Calibri</vt:lpstr>
      <vt:lpstr>Calibri Light</vt:lpstr>
      <vt:lpstr>Open Sans</vt:lpstr>
      <vt:lpstr>华文细黑</vt:lpstr>
      <vt:lpstr>Verdana</vt:lpstr>
      <vt:lpstr>Wingdings</vt:lpstr>
      <vt:lpstr>Wingdings 2</vt:lpstr>
      <vt:lpstr>Office</vt:lpstr>
      <vt:lpstr>Office Theme</vt:lpstr>
      <vt:lpstr>PowerPoint-Präsentation</vt:lpstr>
      <vt:lpstr>Kurzdarstellung der Projektidee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Darstellung und Bearbeitung der Multimedia- Präsentation</vt:lpstr>
      <vt:lpstr>Reflexion der Zielsetzung</vt:lpstr>
      <vt:lpstr>Reflexion der Zielsetzung</vt:lpstr>
      <vt:lpstr>Zeitmanagement und Erfüllung der Meilensteine</vt:lpstr>
      <vt:lpstr>Zusammenarbeit und Kommunikation während des Projektverlaufs</vt:lpstr>
      <vt:lpstr>Lessons Learned: Erkenntnisse, die über das Projekt hinausgehen</vt:lpstr>
      <vt:lpstr>PowerPoint-Prä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del, Yanick Noah</dc:creator>
  <cp:lastModifiedBy>Bedel, Yanick Noah</cp:lastModifiedBy>
  <cp:revision>16</cp:revision>
  <dcterms:created xsi:type="dcterms:W3CDTF">2025-05-22T09:03:28Z</dcterms:created>
  <dcterms:modified xsi:type="dcterms:W3CDTF">2025-07-10T11:40:17Z</dcterms:modified>
</cp:coreProperties>
</file>